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3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FC9297-F8DF-49AC-982F-4A1E629B5C03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30181B-CCD0-4484-8FFC-471CC146012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1642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937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627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76361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35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94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9703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53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571287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558EC6-E51B-4DED-C643-E017006561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58EC6-E51B-4DED-C643-E01700656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D37C3E3-A9C3-00C5-7DC4-AA0565763A46}"/>
              </a:ext>
            </a:extLst>
          </p:cNvPr>
          <p:cNvGrpSpPr/>
          <p:nvPr/>
        </p:nvGrpSpPr>
        <p:grpSpPr>
          <a:xfrm>
            <a:off x="2758202" y="1557338"/>
            <a:ext cx="6675596" cy="4500562"/>
            <a:chOff x="2758202" y="1557338"/>
            <a:chExt cx="6675596" cy="4500562"/>
          </a:xfrm>
        </p:grpSpPr>
        <p:sp>
          <p:nvSpPr>
            <p:cNvPr id="15" name="Freeform 14"/>
            <p:cNvSpPr>
              <a:spLocks noChangeArrowheads="1"/>
            </p:cNvSpPr>
            <p:nvPr/>
          </p:nvSpPr>
          <p:spPr bwMode="auto">
            <a:xfrm>
              <a:off x="5411931" y="3543826"/>
              <a:ext cx="791840" cy="1010829"/>
            </a:xfrm>
            <a:custGeom>
              <a:avLst/>
              <a:gdLst>
                <a:gd name="T0" fmla="*/ 1928 w 2286"/>
                <a:gd name="T1" fmla="*/ 1971 h 2914"/>
                <a:gd name="T2" fmla="*/ 1906 w 2286"/>
                <a:gd name="T3" fmla="*/ 1702 h 2914"/>
                <a:gd name="T4" fmla="*/ 1648 w 2286"/>
                <a:gd name="T5" fmla="*/ 1792 h 2914"/>
                <a:gd name="T6" fmla="*/ 1345 w 2286"/>
                <a:gd name="T7" fmla="*/ 1590 h 2914"/>
                <a:gd name="T8" fmla="*/ 1401 w 2286"/>
                <a:gd name="T9" fmla="*/ 1254 h 2914"/>
                <a:gd name="T10" fmla="*/ 1603 w 2286"/>
                <a:gd name="T11" fmla="*/ 1119 h 2914"/>
                <a:gd name="T12" fmla="*/ 1838 w 2286"/>
                <a:gd name="T13" fmla="*/ 996 h 2914"/>
                <a:gd name="T14" fmla="*/ 2117 w 2286"/>
                <a:gd name="T15" fmla="*/ 705 h 2914"/>
                <a:gd name="T16" fmla="*/ 2263 w 2286"/>
                <a:gd name="T17" fmla="*/ 392 h 2914"/>
                <a:gd name="T18" fmla="*/ 2061 w 2286"/>
                <a:gd name="T19" fmla="*/ 314 h 2914"/>
                <a:gd name="T20" fmla="*/ 1917 w 2286"/>
                <a:gd name="T21" fmla="*/ 224 h 2914"/>
                <a:gd name="T22" fmla="*/ 1760 w 2286"/>
                <a:gd name="T23" fmla="*/ 157 h 2914"/>
                <a:gd name="T24" fmla="*/ 1424 w 2286"/>
                <a:gd name="T25" fmla="*/ 11 h 2914"/>
                <a:gd name="T26" fmla="*/ 1110 w 2286"/>
                <a:gd name="T27" fmla="*/ 33 h 2914"/>
                <a:gd name="T28" fmla="*/ 1166 w 2286"/>
                <a:gd name="T29" fmla="*/ 201 h 2914"/>
                <a:gd name="T30" fmla="*/ 1121 w 2286"/>
                <a:gd name="T31" fmla="*/ 515 h 2914"/>
                <a:gd name="T32" fmla="*/ 886 w 2286"/>
                <a:gd name="T33" fmla="*/ 459 h 2914"/>
                <a:gd name="T34" fmla="*/ 617 w 2286"/>
                <a:gd name="T35" fmla="*/ 481 h 2914"/>
                <a:gd name="T36" fmla="*/ 460 w 2286"/>
                <a:gd name="T37" fmla="*/ 705 h 2914"/>
                <a:gd name="T38" fmla="*/ 325 w 2286"/>
                <a:gd name="T39" fmla="*/ 884 h 2914"/>
                <a:gd name="T40" fmla="*/ 247 w 2286"/>
                <a:gd name="T41" fmla="*/ 1131 h 2914"/>
                <a:gd name="T42" fmla="*/ 124 w 2286"/>
                <a:gd name="T43" fmla="*/ 1366 h 2914"/>
                <a:gd name="T44" fmla="*/ 135 w 2286"/>
                <a:gd name="T45" fmla="*/ 1601 h 2914"/>
                <a:gd name="T46" fmla="*/ 11 w 2286"/>
                <a:gd name="T47" fmla="*/ 1758 h 2914"/>
                <a:gd name="T48" fmla="*/ 56 w 2286"/>
                <a:gd name="T49" fmla="*/ 1870 h 2914"/>
                <a:gd name="T50" fmla="*/ 191 w 2286"/>
                <a:gd name="T51" fmla="*/ 1893 h 2914"/>
                <a:gd name="T52" fmla="*/ 213 w 2286"/>
                <a:gd name="T53" fmla="*/ 1668 h 2914"/>
                <a:gd name="T54" fmla="*/ 292 w 2286"/>
                <a:gd name="T55" fmla="*/ 1780 h 2914"/>
                <a:gd name="T56" fmla="*/ 348 w 2286"/>
                <a:gd name="T57" fmla="*/ 1803 h 2914"/>
                <a:gd name="T58" fmla="*/ 482 w 2286"/>
                <a:gd name="T59" fmla="*/ 1926 h 2914"/>
                <a:gd name="T60" fmla="*/ 606 w 2286"/>
                <a:gd name="T61" fmla="*/ 2049 h 2914"/>
                <a:gd name="T62" fmla="*/ 751 w 2286"/>
                <a:gd name="T63" fmla="*/ 1937 h 2914"/>
                <a:gd name="T64" fmla="*/ 762 w 2286"/>
                <a:gd name="T65" fmla="*/ 2184 h 2914"/>
                <a:gd name="T66" fmla="*/ 505 w 2286"/>
                <a:gd name="T67" fmla="*/ 2363 h 2914"/>
                <a:gd name="T68" fmla="*/ 437 w 2286"/>
                <a:gd name="T69" fmla="*/ 2565 h 2914"/>
                <a:gd name="T70" fmla="*/ 393 w 2286"/>
                <a:gd name="T71" fmla="*/ 2655 h 2914"/>
                <a:gd name="T72" fmla="*/ 493 w 2286"/>
                <a:gd name="T73" fmla="*/ 2800 h 2914"/>
                <a:gd name="T74" fmla="*/ 762 w 2286"/>
                <a:gd name="T75" fmla="*/ 2868 h 2914"/>
                <a:gd name="T76" fmla="*/ 886 w 2286"/>
                <a:gd name="T77" fmla="*/ 2733 h 2914"/>
                <a:gd name="T78" fmla="*/ 1042 w 2286"/>
                <a:gd name="T79" fmla="*/ 2666 h 2914"/>
                <a:gd name="T80" fmla="*/ 1020 w 2286"/>
                <a:gd name="T81" fmla="*/ 2475 h 2914"/>
                <a:gd name="T82" fmla="*/ 1054 w 2286"/>
                <a:gd name="T83" fmla="*/ 2106 h 2914"/>
                <a:gd name="T84" fmla="*/ 1244 w 2286"/>
                <a:gd name="T85" fmla="*/ 1915 h 2914"/>
                <a:gd name="T86" fmla="*/ 1502 w 2286"/>
                <a:gd name="T87" fmla="*/ 2083 h 2914"/>
                <a:gd name="T88" fmla="*/ 1704 w 2286"/>
                <a:gd name="T89" fmla="*/ 2195 h 2914"/>
                <a:gd name="T90" fmla="*/ 1939 w 2286"/>
                <a:gd name="T91" fmla="*/ 2139 h 2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86" h="2914">
                  <a:moveTo>
                    <a:pt x="1939" y="2139"/>
                  </a:moveTo>
                  <a:lnTo>
                    <a:pt x="1939" y="2139"/>
                  </a:lnTo>
                  <a:cubicBezTo>
                    <a:pt x="1950" y="2083"/>
                    <a:pt x="1939" y="2016"/>
                    <a:pt x="1928" y="1971"/>
                  </a:cubicBezTo>
                  <a:cubicBezTo>
                    <a:pt x="1917" y="1926"/>
                    <a:pt x="1950" y="1915"/>
                    <a:pt x="1973" y="1870"/>
                  </a:cubicBezTo>
                  <a:cubicBezTo>
                    <a:pt x="1995" y="1837"/>
                    <a:pt x="1950" y="1803"/>
                    <a:pt x="1950" y="1758"/>
                  </a:cubicBezTo>
                  <a:cubicBezTo>
                    <a:pt x="1950" y="1702"/>
                    <a:pt x="1939" y="1702"/>
                    <a:pt x="1906" y="1702"/>
                  </a:cubicBezTo>
                  <a:cubicBezTo>
                    <a:pt x="1872" y="1691"/>
                    <a:pt x="1827" y="1736"/>
                    <a:pt x="1805" y="1758"/>
                  </a:cubicBezTo>
                  <a:cubicBezTo>
                    <a:pt x="1782" y="1769"/>
                    <a:pt x="1793" y="1803"/>
                    <a:pt x="1771" y="1825"/>
                  </a:cubicBezTo>
                  <a:cubicBezTo>
                    <a:pt x="1737" y="1837"/>
                    <a:pt x="1681" y="1837"/>
                    <a:pt x="1648" y="1792"/>
                  </a:cubicBezTo>
                  <a:cubicBezTo>
                    <a:pt x="1614" y="1758"/>
                    <a:pt x="1536" y="1758"/>
                    <a:pt x="1502" y="1747"/>
                  </a:cubicBezTo>
                  <a:cubicBezTo>
                    <a:pt x="1457" y="1747"/>
                    <a:pt x="1457" y="1713"/>
                    <a:pt x="1446" y="1668"/>
                  </a:cubicBezTo>
                  <a:cubicBezTo>
                    <a:pt x="1424" y="1613"/>
                    <a:pt x="1379" y="1613"/>
                    <a:pt x="1345" y="1590"/>
                  </a:cubicBezTo>
                  <a:cubicBezTo>
                    <a:pt x="1311" y="1568"/>
                    <a:pt x="1311" y="1556"/>
                    <a:pt x="1300" y="1411"/>
                  </a:cubicBezTo>
                  <a:cubicBezTo>
                    <a:pt x="1289" y="1265"/>
                    <a:pt x="1300" y="1209"/>
                    <a:pt x="1323" y="1209"/>
                  </a:cubicBezTo>
                  <a:cubicBezTo>
                    <a:pt x="1345" y="1198"/>
                    <a:pt x="1379" y="1242"/>
                    <a:pt x="1401" y="1254"/>
                  </a:cubicBezTo>
                  <a:cubicBezTo>
                    <a:pt x="1424" y="1265"/>
                    <a:pt x="1480" y="1254"/>
                    <a:pt x="1513" y="1231"/>
                  </a:cubicBezTo>
                  <a:cubicBezTo>
                    <a:pt x="1558" y="1209"/>
                    <a:pt x="1547" y="1198"/>
                    <a:pt x="1547" y="1153"/>
                  </a:cubicBezTo>
                  <a:cubicBezTo>
                    <a:pt x="1558" y="1108"/>
                    <a:pt x="1592" y="1142"/>
                    <a:pt x="1603" y="1119"/>
                  </a:cubicBezTo>
                  <a:cubicBezTo>
                    <a:pt x="1603" y="1097"/>
                    <a:pt x="1637" y="1119"/>
                    <a:pt x="1659" y="1131"/>
                  </a:cubicBezTo>
                  <a:cubicBezTo>
                    <a:pt x="1670" y="1142"/>
                    <a:pt x="1681" y="1142"/>
                    <a:pt x="1681" y="1142"/>
                  </a:cubicBezTo>
                  <a:cubicBezTo>
                    <a:pt x="1681" y="1142"/>
                    <a:pt x="1793" y="1041"/>
                    <a:pt x="1838" y="996"/>
                  </a:cubicBezTo>
                  <a:cubicBezTo>
                    <a:pt x="1894" y="940"/>
                    <a:pt x="2018" y="828"/>
                    <a:pt x="2029" y="806"/>
                  </a:cubicBezTo>
                  <a:cubicBezTo>
                    <a:pt x="2039" y="783"/>
                    <a:pt x="2039" y="761"/>
                    <a:pt x="2029" y="716"/>
                  </a:cubicBezTo>
                  <a:cubicBezTo>
                    <a:pt x="2029" y="671"/>
                    <a:pt x="2084" y="705"/>
                    <a:pt x="2117" y="705"/>
                  </a:cubicBezTo>
                  <a:cubicBezTo>
                    <a:pt x="2140" y="693"/>
                    <a:pt x="2174" y="616"/>
                    <a:pt x="2241" y="515"/>
                  </a:cubicBezTo>
                  <a:cubicBezTo>
                    <a:pt x="2263" y="459"/>
                    <a:pt x="2274" y="425"/>
                    <a:pt x="2285" y="403"/>
                  </a:cubicBezTo>
                  <a:cubicBezTo>
                    <a:pt x="2274" y="403"/>
                    <a:pt x="2274" y="403"/>
                    <a:pt x="2263" y="392"/>
                  </a:cubicBezTo>
                  <a:cubicBezTo>
                    <a:pt x="2252" y="381"/>
                    <a:pt x="2230" y="381"/>
                    <a:pt x="2185" y="392"/>
                  </a:cubicBezTo>
                  <a:cubicBezTo>
                    <a:pt x="2140" y="403"/>
                    <a:pt x="2129" y="381"/>
                    <a:pt x="2117" y="358"/>
                  </a:cubicBezTo>
                  <a:cubicBezTo>
                    <a:pt x="2106" y="336"/>
                    <a:pt x="2084" y="325"/>
                    <a:pt x="2061" y="314"/>
                  </a:cubicBezTo>
                  <a:cubicBezTo>
                    <a:pt x="2039" y="302"/>
                    <a:pt x="2061" y="257"/>
                    <a:pt x="2039" y="235"/>
                  </a:cubicBezTo>
                  <a:cubicBezTo>
                    <a:pt x="2029" y="212"/>
                    <a:pt x="1973" y="246"/>
                    <a:pt x="1939" y="257"/>
                  </a:cubicBezTo>
                  <a:cubicBezTo>
                    <a:pt x="1906" y="269"/>
                    <a:pt x="1917" y="224"/>
                    <a:pt x="1917" y="224"/>
                  </a:cubicBezTo>
                  <a:cubicBezTo>
                    <a:pt x="1917" y="224"/>
                    <a:pt x="1894" y="224"/>
                    <a:pt x="1838" y="235"/>
                  </a:cubicBezTo>
                  <a:cubicBezTo>
                    <a:pt x="1782" y="257"/>
                    <a:pt x="1782" y="257"/>
                    <a:pt x="1782" y="224"/>
                  </a:cubicBezTo>
                  <a:cubicBezTo>
                    <a:pt x="1793" y="201"/>
                    <a:pt x="1782" y="168"/>
                    <a:pt x="1760" y="157"/>
                  </a:cubicBezTo>
                  <a:cubicBezTo>
                    <a:pt x="1737" y="157"/>
                    <a:pt x="1693" y="179"/>
                    <a:pt x="1693" y="179"/>
                  </a:cubicBezTo>
                  <a:cubicBezTo>
                    <a:pt x="1693" y="179"/>
                    <a:pt x="1625" y="101"/>
                    <a:pt x="1614" y="78"/>
                  </a:cubicBezTo>
                  <a:cubicBezTo>
                    <a:pt x="1592" y="56"/>
                    <a:pt x="1524" y="33"/>
                    <a:pt x="1424" y="11"/>
                  </a:cubicBezTo>
                  <a:cubicBezTo>
                    <a:pt x="1334" y="0"/>
                    <a:pt x="1244" y="11"/>
                    <a:pt x="1244" y="11"/>
                  </a:cubicBezTo>
                  <a:lnTo>
                    <a:pt x="1233" y="78"/>
                  </a:lnTo>
                  <a:cubicBezTo>
                    <a:pt x="1222" y="78"/>
                    <a:pt x="1132" y="33"/>
                    <a:pt x="1110" y="33"/>
                  </a:cubicBezTo>
                  <a:cubicBezTo>
                    <a:pt x="1099" y="33"/>
                    <a:pt x="1087" y="45"/>
                    <a:pt x="1065" y="56"/>
                  </a:cubicBezTo>
                  <a:cubicBezTo>
                    <a:pt x="1076" y="78"/>
                    <a:pt x="1087" y="101"/>
                    <a:pt x="1110" y="112"/>
                  </a:cubicBezTo>
                  <a:cubicBezTo>
                    <a:pt x="1144" y="123"/>
                    <a:pt x="1177" y="112"/>
                    <a:pt x="1166" y="201"/>
                  </a:cubicBezTo>
                  <a:cubicBezTo>
                    <a:pt x="1155" y="280"/>
                    <a:pt x="1144" y="314"/>
                    <a:pt x="1166" y="325"/>
                  </a:cubicBezTo>
                  <a:cubicBezTo>
                    <a:pt x="1188" y="336"/>
                    <a:pt x="1244" y="437"/>
                    <a:pt x="1222" y="481"/>
                  </a:cubicBezTo>
                  <a:cubicBezTo>
                    <a:pt x="1200" y="515"/>
                    <a:pt x="1121" y="470"/>
                    <a:pt x="1121" y="515"/>
                  </a:cubicBezTo>
                  <a:cubicBezTo>
                    <a:pt x="1110" y="560"/>
                    <a:pt x="1087" y="560"/>
                    <a:pt x="1065" y="538"/>
                  </a:cubicBezTo>
                  <a:cubicBezTo>
                    <a:pt x="1031" y="526"/>
                    <a:pt x="1009" y="549"/>
                    <a:pt x="986" y="526"/>
                  </a:cubicBezTo>
                  <a:cubicBezTo>
                    <a:pt x="964" y="493"/>
                    <a:pt x="919" y="459"/>
                    <a:pt x="886" y="459"/>
                  </a:cubicBezTo>
                  <a:cubicBezTo>
                    <a:pt x="841" y="448"/>
                    <a:pt x="818" y="470"/>
                    <a:pt x="807" y="493"/>
                  </a:cubicBezTo>
                  <a:cubicBezTo>
                    <a:pt x="807" y="526"/>
                    <a:pt x="762" y="526"/>
                    <a:pt x="718" y="493"/>
                  </a:cubicBezTo>
                  <a:cubicBezTo>
                    <a:pt x="662" y="470"/>
                    <a:pt x="617" y="437"/>
                    <a:pt x="617" y="481"/>
                  </a:cubicBezTo>
                  <a:cubicBezTo>
                    <a:pt x="617" y="526"/>
                    <a:pt x="583" y="571"/>
                    <a:pt x="561" y="571"/>
                  </a:cubicBezTo>
                  <a:cubicBezTo>
                    <a:pt x="538" y="571"/>
                    <a:pt x="516" y="583"/>
                    <a:pt x="505" y="627"/>
                  </a:cubicBezTo>
                  <a:cubicBezTo>
                    <a:pt x="493" y="671"/>
                    <a:pt x="505" y="716"/>
                    <a:pt x="460" y="705"/>
                  </a:cubicBezTo>
                  <a:cubicBezTo>
                    <a:pt x="404" y="682"/>
                    <a:pt x="370" y="705"/>
                    <a:pt x="370" y="738"/>
                  </a:cubicBezTo>
                  <a:cubicBezTo>
                    <a:pt x="370" y="761"/>
                    <a:pt x="348" y="772"/>
                    <a:pt x="325" y="772"/>
                  </a:cubicBezTo>
                  <a:cubicBezTo>
                    <a:pt x="314" y="772"/>
                    <a:pt x="314" y="851"/>
                    <a:pt x="325" y="884"/>
                  </a:cubicBezTo>
                  <a:cubicBezTo>
                    <a:pt x="337" y="918"/>
                    <a:pt x="325" y="985"/>
                    <a:pt x="337" y="1007"/>
                  </a:cubicBezTo>
                  <a:cubicBezTo>
                    <a:pt x="348" y="1030"/>
                    <a:pt x="359" y="1041"/>
                    <a:pt x="314" y="1052"/>
                  </a:cubicBezTo>
                  <a:cubicBezTo>
                    <a:pt x="280" y="1075"/>
                    <a:pt x="292" y="1131"/>
                    <a:pt x="247" y="1131"/>
                  </a:cubicBezTo>
                  <a:cubicBezTo>
                    <a:pt x="202" y="1142"/>
                    <a:pt x="168" y="1164"/>
                    <a:pt x="157" y="1220"/>
                  </a:cubicBezTo>
                  <a:cubicBezTo>
                    <a:pt x="146" y="1287"/>
                    <a:pt x="157" y="1299"/>
                    <a:pt x="135" y="1310"/>
                  </a:cubicBezTo>
                  <a:cubicBezTo>
                    <a:pt x="124" y="1321"/>
                    <a:pt x="157" y="1366"/>
                    <a:pt x="124" y="1366"/>
                  </a:cubicBezTo>
                  <a:cubicBezTo>
                    <a:pt x="90" y="1355"/>
                    <a:pt x="68" y="1388"/>
                    <a:pt x="79" y="1433"/>
                  </a:cubicBezTo>
                  <a:cubicBezTo>
                    <a:pt x="101" y="1478"/>
                    <a:pt x="90" y="1523"/>
                    <a:pt x="101" y="1534"/>
                  </a:cubicBezTo>
                  <a:cubicBezTo>
                    <a:pt x="124" y="1545"/>
                    <a:pt x="135" y="1568"/>
                    <a:pt x="135" y="1601"/>
                  </a:cubicBezTo>
                  <a:cubicBezTo>
                    <a:pt x="135" y="1624"/>
                    <a:pt x="113" y="1635"/>
                    <a:pt x="79" y="1635"/>
                  </a:cubicBezTo>
                  <a:cubicBezTo>
                    <a:pt x="34" y="1646"/>
                    <a:pt x="23" y="1657"/>
                    <a:pt x="34" y="1691"/>
                  </a:cubicBezTo>
                  <a:cubicBezTo>
                    <a:pt x="34" y="1736"/>
                    <a:pt x="34" y="1758"/>
                    <a:pt x="11" y="1758"/>
                  </a:cubicBezTo>
                  <a:cubicBezTo>
                    <a:pt x="0" y="1769"/>
                    <a:pt x="0" y="1859"/>
                    <a:pt x="0" y="1893"/>
                  </a:cubicBezTo>
                  <a:lnTo>
                    <a:pt x="0" y="1893"/>
                  </a:lnTo>
                  <a:cubicBezTo>
                    <a:pt x="23" y="1893"/>
                    <a:pt x="45" y="1893"/>
                    <a:pt x="56" y="1870"/>
                  </a:cubicBezTo>
                  <a:cubicBezTo>
                    <a:pt x="56" y="1848"/>
                    <a:pt x="68" y="1803"/>
                    <a:pt x="90" y="1803"/>
                  </a:cubicBezTo>
                  <a:cubicBezTo>
                    <a:pt x="113" y="1803"/>
                    <a:pt x="135" y="1893"/>
                    <a:pt x="146" y="1915"/>
                  </a:cubicBezTo>
                  <a:cubicBezTo>
                    <a:pt x="146" y="1937"/>
                    <a:pt x="180" y="1915"/>
                    <a:pt x="191" y="1893"/>
                  </a:cubicBezTo>
                  <a:cubicBezTo>
                    <a:pt x="202" y="1870"/>
                    <a:pt x="224" y="1848"/>
                    <a:pt x="213" y="1814"/>
                  </a:cubicBezTo>
                  <a:cubicBezTo>
                    <a:pt x="202" y="1792"/>
                    <a:pt x="224" y="1769"/>
                    <a:pt x="202" y="1747"/>
                  </a:cubicBezTo>
                  <a:cubicBezTo>
                    <a:pt x="191" y="1713"/>
                    <a:pt x="157" y="1668"/>
                    <a:pt x="213" y="1668"/>
                  </a:cubicBezTo>
                  <a:cubicBezTo>
                    <a:pt x="269" y="1657"/>
                    <a:pt x="348" y="1668"/>
                    <a:pt x="348" y="1680"/>
                  </a:cubicBezTo>
                  <a:cubicBezTo>
                    <a:pt x="359" y="1691"/>
                    <a:pt x="370" y="1747"/>
                    <a:pt x="348" y="1758"/>
                  </a:cubicBezTo>
                  <a:cubicBezTo>
                    <a:pt x="337" y="1769"/>
                    <a:pt x="314" y="1780"/>
                    <a:pt x="292" y="1780"/>
                  </a:cubicBezTo>
                  <a:cubicBezTo>
                    <a:pt x="269" y="1780"/>
                    <a:pt x="258" y="1837"/>
                    <a:pt x="269" y="1937"/>
                  </a:cubicBezTo>
                  <a:cubicBezTo>
                    <a:pt x="292" y="2038"/>
                    <a:pt x="303" y="2005"/>
                    <a:pt x="314" y="1960"/>
                  </a:cubicBezTo>
                  <a:cubicBezTo>
                    <a:pt x="314" y="1904"/>
                    <a:pt x="337" y="1837"/>
                    <a:pt x="348" y="1803"/>
                  </a:cubicBezTo>
                  <a:cubicBezTo>
                    <a:pt x="359" y="1780"/>
                    <a:pt x="437" y="1792"/>
                    <a:pt x="460" y="1803"/>
                  </a:cubicBezTo>
                  <a:cubicBezTo>
                    <a:pt x="471" y="1825"/>
                    <a:pt x="471" y="1848"/>
                    <a:pt x="493" y="1859"/>
                  </a:cubicBezTo>
                  <a:cubicBezTo>
                    <a:pt x="516" y="1870"/>
                    <a:pt x="505" y="1882"/>
                    <a:pt x="482" y="1926"/>
                  </a:cubicBezTo>
                  <a:cubicBezTo>
                    <a:pt x="460" y="1971"/>
                    <a:pt x="426" y="2061"/>
                    <a:pt x="415" y="2083"/>
                  </a:cubicBezTo>
                  <a:cubicBezTo>
                    <a:pt x="404" y="2117"/>
                    <a:pt x="493" y="2106"/>
                    <a:pt x="538" y="2106"/>
                  </a:cubicBezTo>
                  <a:cubicBezTo>
                    <a:pt x="583" y="2106"/>
                    <a:pt x="572" y="2049"/>
                    <a:pt x="606" y="2049"/>
                  </a:cubicBezTo>
                  <a:cubicBezTo>
                    <a:pt x="650" y="2038"/>
                    <a:pt x="639" y="2016"/>
                    <a:pt x="628" y="1993"/>
                  </a:cubicBezTo>
                  <a:cubicBezTo>
                    <a:pt x="617" y="1971"/>
                    <a:pt x="650" y="1904"/>
                    <a:pt x="673" y="1893"/>
                  </a:cubicBezTo>
                  <a:cubicBezTo>
                    <a:pt x="706" y="1893"/>
                    <a:pt x="729" y="1904"/>
                    <a:pt x="751" y="1937"/>
                  </a:cubicBezTo>
                  <a:cubicBezTo>
                    <a:pt x="773" y="1960"/>
                    <a:pt x="785" y="2005"/>
                    <a:pt x="773" y="2027"/>
                  </a:cubicBezTo>
                  <a:cubicBezTo>
                    <a:pt x="762" y="2061"/>
                    <a:pt x="740" y="2094"/>
                    <a:pt x="773" y="2117"/>
                  </a:cubicBezTo>
                  <a:cubicBezTo>
                    <a:pt x="796" y="2150"/>
                    <a:pt x="807" y="2173"/>
                    <a:pt x="762" y="2184"/>
                  </a:cubicBezTo>
                  <a:cubicBezTo>
                    <a:pt x="718" y="2206"/>
                    <a:pt x="673" y="2195"/>
                    <a:pt x="639" y="2229"/>
                  </a:cubicBezTo>
                  <a:cubicBezTo>
                    <a:pt x="606" y="2273"/>
                    <a:pt x="572" y="2296"/>
                    <a:pt x="538" y="2318"/>
                  </a:cubicBezTo>
                  <a:cubicBezTo>
                    <a:pt x="505" y="2330"/>
                    <a:pt x="482" y="2341"/>
                    <a:pt x="505" y="2363"/>
                  </a:cubicBezTo>
                  <a:cubicBezTo>
                    <a:pt x="527" y="2375"/>
                    <a:pt x="527" y="2419"/>
                    <a:pt x="505" y="2453"/>
                  </a:cubicBezTo>
                  <a:cubicBezTo>
                    <a:pt x="482" y="2486"/>
                    <a:pt x="471" y="2464"/>
                    <a:pt x="437" y="2498"/>
                  </a:cubicBezTo>
                  <a:cubicBezTo>
                    <a:pt x="404" y="2531"/>
                    <a:pt x="404" y="2576"/>
                    <a:pt x="437" y="2565"/>
                  </a:cubicBezTo>
                  <a:cubicBezTo>
                    <a:pt x="482" y="2565"/>
                    <a:pt x="493" y="2587"/>
                    <a:pt x="471" y="2599"/>
                  </a:cubicBezTo>
                  <a:cubicBezTo>
                    <a:pt x="460" y="2621"/>
                    <a:pt x="415" y="2621"/>
                    <a:pt x="393" y="2610"/>
                  </a:cubicBezTo>
                  <a:cubicBezTo>
                    <a:pt x="370" y="2610"/>
                    <a:pt x="370" y="2632"/>
                    <a:pt x="393" y="2655"/>
                  </a:cubicBezTo>
                  <a:cubicBezTo>
                    <a:pt x="415" y="2688"/>
                    <a:pt x="426" y="2722"/>
                    <a:pt x="426" y="2744"/>
                  </a:cubicBezTo>
                  <a:cubicBezTo>
                    <a:pt x="415" y="2755"/>
                    <a:pt x="471" y="2744"/>
                    <a:pt x="460" y="2778"/>
                  </a:cubicBezTo>
                  <a:cubicBezTo>
                    <a:pt x="460" y="2811"/>
                    <a:pt x="471" y="2823"/>
                    <a:pt x="493" y="2800"/>
                  </a:cubicBezTo>
                  <a:cubicBezTo>
                    <a:pt x="516" y="2778"/>
                    <a:pt x="561" y="2778"/>
                    <a:pt x="583" y="2823"/>
                  </a:cubicBezTo>
                  <a:cubicBezTo>
                    <a:pt x="594" y="2879"/>
                    <a:pt x="606" y="2913"/>
                    <a:pt x="639" y="2901"/>
                  </a:cubicBezTo>
                  <a:cubicBezTo>
                    <a:pt x="673" y="2879"/>
                    <a:pt x="729" y="2868"/>
                    <a:pt x="762" y="2868"/>
                  </a:cubicBezTo>
                  <a:cubicBezTo>
                    <a:pt x="807" y="2856"/>
                    <a:pt x="818" y="2868"/>
                    <a:pt x="807" y="2834"/>
                  </a:cubicBezTo>
                  <a:cubicBezTo>
                    <a:pt x="807" y="2789"/>
                    <a:pt x="818" y="2733"/>
                    <a:pt x="818" y="2733"/>
                  </a:cubicBezTo>
                  <a:cubicBezTo>
                    <a:pt x="818" y="2733"/>
                    <a:pt x="863" y="2711"/>
                    <a:pt x="886" y="2733"/>
                  </a:cubicBezTo>
                  <a:cubicBezTo>
                    <a:pt x="908" y="2755"/>
                    <a:pt x="931" y="2744"/>
                    <a:pt x="931" y="2722"/>
                  </a:cubicBezTo>
                  <a:cubicBezTo>
                    <a:pt x="931" y="2688"/>
                    <a:pt x="964" y="2711"/>
                    <a:pt x="986" y="2688"/>
                  </a:cubicBezTo>
                  <a:cubicBezTo>
                    <a:pt x="998" y="2666"/>
                    <a:pt x="1020" y="2655"/>
                    <a:pt x="1042" y="2666"/>
                  </a:cubicBezTo>
                  <a:cubicBezTo>
                    <a:pt x="1065" y="2666"/>
                    <a:pt x="1087" y="2666"/>
                    <a:pt x="1087" y="2632"/>
                  </a:cubicBezTo>
                  <a:cubicBezTo>
                    <a:pt x="1087" y="2599"/>
                    <a:pt x="1076" y="2531"/>
                    <a:pt x="1076" y="2531"/>
                  </a:cubicBezTo>
                  <a:cubicBezTo>
                    <a:pt x="1076" y="2531"/>
                    <a:pt x="1042" y="2498"/>
                    <a:pt x="1020" y="2475"/>
                  </a:cubicBezTo>
                  <a:cubicBezTo>
                    <a:pt x="998" y="2464"/>
                    <a:pt x="1031" y="2408"/>
                    <a:pt x="998" y="2363"/>
                  </a:cubicBezTo>
                  <a:cubicBezTo>
                    <a:pt x="975" y="2318"/>
                    <a:pt x="964" y="2251"/>
                    <a:pt x="998" y="2218"/>
                  </a:cubicBezTo>
                  <a:cubicBezTo>
                    <a:pt x="1020" y="2195"/>
                    <a:pt x="1020" y="2117"/>
                    <a:pt x="1054" y="2106"/>
                  </a:cubicBezTo>
                  <a:cubicBezTo>
                    <a:pt x="1087" y="2083"/>
                    <a:pt x="1076" y="1993"/>
                    <a:pt x="1087" y="1982"/>
                  </a:cubicBezTo>
                  <a:cubicBezTo>
                    <a:pt x="1087" y="1971"/>
                    <a:pt x="1144" y="1982"/>
                    <a:pt x="1200" y="1971"/>
                  </a:cubicBezTo>
                  <a:cubicBezTo>
                    <a:pt x="1244" y="1960"/>
                    <a:pt x="1244" y="1960"/>
                    <a:pt x="1244" y="1915"/>
                  </a:cubicBezTo>
                  <a:cubicBezTo>
                    <a:pt x="1244" y="1870"/>
                    <a:pt x="1300" y="1870"/>
                    <a:pt x="1345" y="1893"/>
                  </a:cubicBezTo>
                  <a:cubicBezTo>
                    <a:pt x="1379" y="1915"/>
                    <a:pt x="1468" y="1993"/>
                    <a:pt x="1491" y="2005"/>
                  </a:cubicBezTo>
                  <a:cubicBezTo>
                    <a:pt x="1502" y="2016"/>
                    <a:pt x="1491" y="2061"/>
                    <a:pt x="1502" y="2083"/>
                  </a:cubicBezTo>
                  <a:cubicBezTo>
                    <a:pt x="1502" y="2117"/>
                    <a:pt x="1513" y="2128"/>
                    <a:pt x="1547" y="2128"/>
                  </a:cubicBezTo>
                  <a:cubicBezTo>
                    <a:pt x="1580" y="2128"/>
                    <a:pt x="1580" y="2173"/>
                    <a:pt x="1580" y="2173"/>
                  </a:cubicBezTo>
                  <a:cubicBezTo>
                    <a:pt x="1580" y="2173"/>
                    <a:pt x="1670" y="2150"/>
                    <a:pt x="1704" y="2195"/>
                  </a:cubicBezTo>
                  <a:cubicBezTo>
                    <a:pt x="1737" y="2229"/>
                    <a:pt x="1805" y="2296"/>
                    <a:pt x="1838" y="2318"/>
                  </a:cubicBezTo>
                  <a:cubicBezTo>
                    <a:pt x="1838" y="2307"/>
                    <a:pt x="1849" y="2296"/>
                    <a:pt x="1849" y="2285"/>
                  </a:cubicBezTo>
                  <a:cubicBezTo>
                    <a:pt x="1872" y="2251"/>
                    <a:pt x="1917" y="2184"/>
                    <a:pt x="1939" y="213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" name="Freeform 1"/>
            <p:cNvSpPr>
              <a:spLocks noChangeArrowheads="1"/>
            </p:cNvSpPr>
            <p:nvPr/>
          </p:nvSpPr>
          <p:spPr bwMode="auto">
            <a:xfrm>
              <a:off x="3070046" y="2727209"/>
              <a:ext cx="1193872" cy="1344204"/>
            </a:xfrm>
            <a:custGeom>
              <a:avLst/>
              <a:gdLst>
                <a:gd name="T0" fmla="*/ 482 w 3442"/>
                <a:gd name="T1" fmla="*/ 23 h 3878"/>
                <a:gd name="T2" fmla="*/ 583 w 3442"/>
                <a:gd name="T3" fmla="*/ 135 h 3878"/>
                <a:gd name="T4" fmla="*/ 673 w 3442"/>
                <a:gd name="T5" fmla="*/ 202 h 3878"/>
                <a:gd name="T6" fmla="*/ 606 w 3442"/>
                <a:gd name="T7" fmla="*/ 269 h 3878"/>
                <a:gd name="T8" fmla="*/ 449 w 3442"/>
                <a:gd name="T9" fmla="*/ 146 h 3878"/>
                <a:gd name="T10" fmla="*/ 102 w 3442"/>
                <a:gd name="T11" fmla="*/ 79 h 3878"/>
                <a:gd name="T12" fmla="*/ 113 w 3442"/>
                <a:gd name="T13" fmla="*/ 180 h 3878"/>
                <a:gd name="T14" fmla="*/ 269 w 3442"/>
                <a:gd name="T15" fmla="*/ 337 h 3878"/>
                <a:gd name="T16" fmla="*/ 471 w 3442"/>
                <a:gd name="T17" fmla="*/ 583 h 3878"/>
                <a:gd name="T18" fmla="*/ 595 w 3442"/>
                <a:gd name="T19" fmla="*/ 639 h 3878"/>
                <a:gd name="T20" fmla="*/ 695 w 3442"/>
                <a:gd name="T21" fmla="*/ 740 h 3878"/>
                <a:gd name="T22" fmla="*/ 864 w 3442"/>
                <a:gd name="T23" fmla="*/ 897 h 3878"/>
                <a:gd name="T24" fmla="*/ 1031 w 3442"/>
                <a:gd name="T25" fmla="*/ 875 h 3878"/>
                <a:gd name="T26" fmla="*/ 1155 w 3442"/>
                <a:gd name="T27" fmla="*/ 897 h 3878"/>
                <a:gd name="T28" fmla="*/ 1222 w 3442"/>
                <a:gd name="T29" fmla="*/ 897 h 3878"/>
                <a:gd name="T30" fmla="*/ 1233 w 3442"/>
                <a:gd name="T31" fmla="*/ 1020 h 3878"/>
                <a:gd name="T32" fmla="*/ 1435 w 3442"/>
                <a:gd name="T33" fmla="*/ 1244 h 3878"/>
                <a:gd name="T34" fmla="*/ 1614 w 3442"/>
                <a:gd name="T35" fmla="*/ 1311 h 3878"/>
                <a:gd name="T36" fmla="*/ 1738 w 3442"/>
                <a:gd name="T37" fmla="*/ 1547 h 3878"/>
                <a:gd name="T38" fmla="*/ 1805 w 3442"/>
                <a:gd name="T39" fmla="*/ 1962 h 3878"/>
                <a:gd name="T40" fmla="*/ 1760 w 3442"/>
                <a:gd name="T41" fmla="*/ 2309 h 3878"/>
                <a:gd name="T42" fmla="*/ 1861 w 3442"/>
                <a:gd name="T43" fmla="*/ 2432 h 3878"/>
                <a:gd name="T44" fmla="*/ 1973 w 3442"/>
                <a:gd name="T45" fmla="*/ 2566 h 3878"/>
                <a:gd name="T46" fmla="*/ 2152 w 3442"/>
                <a:gd name="T47" fmla="*/ 2724 h 3878"/>
                <a:gd name="T48" fmla="*/ 2589 w 3442"/>
                <a:gd name="T49" fmla="*/ 3081 h 3878"/>
                <a:gd name="T50" fmla="*/ 2903 w 3442"/>
                <a:gd name="T51" fmla="*/ 3350 h 3878"/>
                <a:gd name="T52" fmla="*/ 2982 w 3442"/>
                <a:gd name="T53" fmla="*/ 3664 h 3878"/>
                <a:gd name="T54" fmla="*/ 3116 w 3442"/>
                <a:gd name="T55" fmla="*/ 3821 h 3878"/>
                <a:gd name="T56" fmla="*/ 3396 w 3442"/>
                <a:gd name="T57" fmla="*/ 3361 h 3878"/>
                <a:gd name="T58" fmla="*/ 3195 w 3442"/>
                <a:gd name="T59" fmla="*/ 3081 h 3878"/>
                <a:gd name="T60" fmla="*/ 2971 w 3442"/>
                <a:gd name="T61" fmla="*/ 2802 h 3878"/>
                <a:gd name="T62" fmla="*/ 2892 w 3442"/>
                <a:gd name="T63" fmla="*/ 2869 h 3878"/>
                <a:gd name="T64" fmla="*/ 2836 w 3442"/>
                <a:gd name="T65" fmla="*/ 2937 h 3878"/>
                <a:gd name="T66" fmla="*/ 2623 w 3442"/>
                <a:gd name="T67" fmla="*/ 2600 h 3878"/>
                <a:gd name="T68" fmla="*/ 2589 w 3442"/>
                <a:gd name="T69" fmla="*/ 2242 h 3878"/>
                <a:gd name="T70" fmla="*/ 2365 w 3442"/>
                <a:gd name="T71" fmla="*/ 1793 h 3878"/>
                <a:gd name="T72" fmla="*/ 2343 w 3442"/>
                <a:gd name="T73" fmla="*/ 1468 h 3878"/>
                <a:gd name="T74" fmla="*/ 2208 w 3442"/>
                <a:gd name="T75" fmla="*/ 1121 h 3878"/>
                <a:gd name="T76" fmla="*/ 1995 w 3442"/>
                <a:gd name="T77" fmla="*/ 919 h 3878"/>
                <a:gd name="T78" fmla="*/ 2063 w 3442"/>
                <a:gd name="T79" fmla="*/ 1087 h 3878"/>
                <a:gd name="T80" fmla="*/ 1973 w 3442"/>
                <a:gd name="T81" fmla="*/ 1065 h 3878"/>
                <a:gd name="T82" fmla="*/ 1917 w 3442"/>
                <a:gd name="T83" fmla="*/ 830 h 3878"/>
                <a:gd name="T84" fmla="*/ 1760 w 3442"/>
                <a:gd name="T85" fmla="*/ 482 h 3878"/>
                <a:gd name="T86" fmla="*/ 1525 w 3442"/>
                <a:gd name="T87" fmla="*/ 202 h 3878"/>
                <a:gd name="T88" fmla="*/ 583 w 3442"/>
                <a:gd name="T89" fmla="*/ 0 h 3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42" h="3878">
                  <a:moveTo>
                    <a:pt x="538" y="45"/>
                  </a:moveTo>
                  <a:lnTo>
                    <a:pt x="538" y="45"/>
                  </a:lnTo>
                  <a:cubicBezTo>
                    <a:pt x="516" y="45"/>
                    <a:pt x="505" y="23"/>
                    <a:pt x="482" y="23"/>
                  </a:cubicBezTo>
                  <a:cubicBezTo>
                    <a:pt x="471" y="11"/>
                    <a:pt x="505" y="68"/>
                    <a:pt x="516" y="79"/>
                  </a:cubicBezTo>
                  <a:cubicBezTo>
                    <a:pt x="538" y="90"/>
                    <a:pt x="572" y="45"/>
                    <a:pt x="595" y="68"/>
                  </a:cubicBezTo>
                  <a:cubicBezTo>
                    <a:pt x="606" y="101"/>
                    <a:pt x="595" y="124"/>
                    <a:pt x="583" y="135"/>
                  </a:cubicBezTo>
                  <a:cubicBezTo>
                    <a:pt x="572" y="157"/>
                    <a:pt x="595" y="168"/>
                    <a:pt x="617" y="157"/>
                  </a:cubicBezTo>
                  <a:cubicBezTo>
                    <a:pt x="628" y="157"/>
                    <a:pt x="617" y="191"/>
                    <a:pt x="640" y="180"/>
                  </a:cubicBezTo>
                  <a:cubicBezTo>
                    <a:pt x="662" y="168"/>
                    <a:pt x="673" y="191"/>
                    <a:pt x="673" y="202"/>
                  </a:cubicBezTo>
                  <a:cubicBezTo>
                    <a:pt x="684" y="213"/>
                    <a:pt x="707" y="191"/>
                    <a:pt x="718" y="213"/>
                  </a:cubicBezTo>
                  <a:cubicBezTo>
                    <a:pt x="729" y="236"/>
                    <a:pt x="684" y="236"/>
                    <a:pt x="662" y="247"/>
                  </a:cubicBezTo>
                  <a:cubicBezTo>
                    <a:pt x="651" y="258"/>
                    <a:pt x="617" y="269"/>
                    <a:pt x="606" y="269"/>
                  </a:cubicBezTo>
                  <a:cubicBezTo>
                    <a:pt x="583" y="269"/>
                    <a:pt x="583" y="202"/>
                    <a:pt x="550" y="191"/>
                  </a:cubicBezTo>
                  <a:cubicBezTo>
                    <a:pt x="516" y="180"/>
                    <a:pt x="494" y="180"/>
                    <a:pt x="494" y="157"/>
                  </a:cubicBezTo>
                  <a:cubicBezTo>
                    <a:pt x="482" y="124"/>
                    <a:pt x="471" y="113"/>
                    <a:pt x="449" y="146"/>
                  </a:cubicBezTo>
                  <a:cubicBezTo>
                    <a:pt x="438" y="180"/>
                    <a:pt x="382" y="191"/>
                    <a:pt x="359" y="180"/>
                  </a:cubicBezTo>
                  <a:cubicBezTo>
                    <a:pt x="326" y="168"/>
                    <a:pt x="258" y="101"/>
                    <a:pt x="225" y="101"/>
                  </a:cubicBezTo>
                  <a:cubicBezTo>
                    <a:pt x="180" y="90"/>
                    <a:pt x="135" y="90"/>
                    <a:pt x="102" y="79"/>
                  </a:cubicBezTo>
                  <a:cubicBezTo>
                    <a:pt x="57" y="68"/>
                    <a:pt x="23" y="56"/>
                    <a:pt x="12" y="56"/>
                  </a:cubicBezTo>
                  <a:cubicBezTo>
                    <a:pt x="0" y="56"/>
                    <a:pt x="12" y="90"/>
                    <a:pt x="45" y="101"/>
                  </a:cubicBezTo>
                  <a:cubicBezTo>
                    <a:pt x="79" y="124"/>
                    <a:pt x="102" y="157"/>
                    <a:pt x="113" y="180"/>
                  </a:cubicBezTo>
                  <a:cubicBezTo>
                    <a:pt x="113" y="202"/>
                    <a:pt x="158" y="191"/>
                    <a:pt x="180" y="191"/>
                  </a:cubicBezTo>
                  <a:cubicBezTo>
                    <a:pt x="202" y="191"/>
                    <a:pt x="213" y="224"/>
                    <a:pt x="213" y="247"/>
                  </a:cubicBezTo>
                  <a:cubicBezTo>
                    <a:pt x="225" y="280"/>
                    <a:pt x="236" y="325"/>
                    <a:pt x="269" y="337"/>
                  </a:cubicBezTo>
                  <a:cubicBezTo>
                    <a:pt x="303" y="359"/>
                    <a:pt x="371" y="393"/>
                    <a:pt x="382" y="437"/>
                  </a:cubicBezTo>
                  <a:cubicBezTo>
                    <a:pt x="382" y="482"/>
                    <a:pt x="371" y="549"/>
                    <a:pt x="393" y="572"/>
                  </a:cubicBezTo>
                  <a:cubicBezTo>
                    <a:pt x="415" y="594"/>
                    <a:pt x="449" y="594"/>
                    <a:pt x="471" y="583"/>
                  </a:cubicBezTo>
                  <a:cubicBezTo>
                    <a:pt x="505" y="583"/>
                    <a:pt x="516" y="594"/>
                    <a:pt x="516" y="617"/>
                  </a:cubicBezTo>
                  <a:cubicBezTo>
                    <a:pt x="516" y="639"/>
                    <a:pt x="550" y="650"/>
                    <a:pt x="572" y="639"/>
                  </a:cubicBezTo>
                  <a:cubicBezTo>
                    <a:pt x="595" y="617"/>
                    <a:pt x="595" y="617"/>
                    <a:pt x="595" y="639"/>
                  </a:cubicBezTo>
                  <a:cubicBezTo>
                    <a:pt x="595" y="673"/>
                    <a:pt x="606" y="684"/>
                    <a:pt x="617" y="684"/>
                  </a:cubicBezTo>
                  <a:cubicBezTo>
                    <a:pt x="640" y="684"/>
                    <a:pt x="651" y="706"/>
                    <a:pt x="651" y="717"/>
                  </a:cubicBezTo>
                  <a:cubicBezTo>
                    <a:pt x="651" y="740"/>
                    <a:pt x="662" y="751"/>
                    <a:pt x="695" y="740"/>
                  </a:cubicBezTo>
                  <a:cubicBezTo>
                    <a:pt x="729" y="729"/>
                    <a:pt x="774" y="729"/>
                    <a:pt x="785" y="740"/>
                  </a:cubicBezTo>
                  <a:cubicBezTo>
                    <a:pt x="796" y="751"/>
                    <a:pt x="774" y="796"/>
                    <a:pt x="796" y="818"/>
                  </a:cubicBezTo>
                  <a:cubicBezTo>
                    <a:pt x="819" y="830"/>
                    <a:pt x="852" y="863"/>
                    <a:pt x="864" y="897"/>
                  </a:cubicBezTo>
                  <a:cubicBezTo>
                    <a:pt x="886" y="919"/>
                    <a:pt x="897" y="953"/>
                    <a:pt x="920" y="953"/>
                  </a:cubicBezTo>
                  <a:cubicBezTo>
                    <a:pt x="942" y="953"/>
                    <a:pt x="964" y="931"/>
                    <a:pt x="976" y="908"/>
                  </a:cubicBezTo>
                  <a:cubicBezTo>
                    <a:pt x="976" y="886"/>
                    <a:pt x="1009" y="897"/>
                    <a:pt x="1031" y="875"/>
                  </a:cubicBezTo>
                  <a:cubicBezTo>
                    <a:pt x="1043" y="863"/>
                    <a:pt x="1054" y="863"/>
                    <a:pt x="1054" y="897"/>
                  </a:cubicBezTo>
                  <a:cubicBezTo>
                    <a:pt x="1054" y="931"/>
                    <a:pt x="1065" y="942"/>
                    <a:pt x="1110" y="931"/>
                  </a:cubicBezTo>
                  <a:cubicBezTo>
                    <a:pt x="1155" y="931"/>
                    <a:pt x="1133" y="897"/>
                    <a:pt x="1155" y="897"/>
                  </a:cubicBezTo>
                  <a:cubicBezTo>
                    <a:pt x="1177" y="897"/>
                    <a:pt x="1200" y="886"/>
                    <a:pt x="1189" y="852"/>
                  </a:cubicBezTo>
                  <a:cubicBezTo>
                    <a:pt x="1189" y="818"/>
                    <a:pt x="1200" y="796"/>
                    <a:pt x="1211" y="807"/>
                  </a:cubicBezTo>
                  <a:cubicBezTo>
                    <a:pt x="1211" y="818"/>
                    <a:pt x="1211" y="875"/>
                    <a:pt x="1222" y="897"/>
                  </a:cubicBezTo>
                  <a:cubicBezTo>
                    <a:pt x="1222" y="919"/>
                    <a:pt x="1244" y="919"/>
                    <a:pt x="1222" y="942"/>
                  </a:cubicBezTo>
                  <a:cubicBezTo>
                    <a:pt x="1211" y="975"/>
                    <a:pt x="1189" y="986"/>
                    <a:pt x="1189" y="1009"/>
                  </a:cubicBezTo>
                  <a:cubicBezTo>
                    <a:pt x="1189" y="1031"/>
                    <a:pt x="1200" y="1031"/>
                    <a:pt x="1233" y="1020"/>
                  </a:cubicBezTo>
                  <a:cubicBezTo>
                    <a:pt x="1267" y="1020"/>
                    <a:pt x="1278" y="1020"/>
                    <a:pt x="1278" y="1042"/>
                  </a:cubicBezTo>
                  <a:cubicBezTo>
                    <a:pt x="1278" y="1076"/>
                    <a:pt x="1289" y="1099"/>
                    <a:pt x="1312" y="1121"/>
                  </a:cubicBezTo>
                  <a:cubicBezTo>
                    <a:pt x="1334" y="1132"/>
                    <a:pt x="1413" y="1233"/>
                    <a:pt x="1435" y="1244"/>
                  </a:cubicBezTo>
                  <a:cubicBezTo>
                    <a:pt x="1446" y="1267"/>
                    <a:pt x="1469" y="1300"/>
                    <a:pt x="1469" y="1311"/>
                  </a:cubicBezTo>
                  <a:cubicBezTo>
                    <a:pt x="1469" y="1323"/>
                    <a:pt x="1491" y="1323"/>
                    <a:pt x="1525" y="1311"/>
                  </a:cubicBezTo>
                  <a:cubicBezTo>
                    <a:pt x="1547" y="1300"/>
                    <a:pt x="1592" y="1300"/>
                    <a:pt x="1614" y="1311"/>
                  </a:cubicBezTo>
                  <a:cubicBezTo>
                    <a:pt x="1637" y="1334"/>
                    <a:pt x="1671" y="1424"/>
                    <a:pt x="1682" y="1446"/>
                  </a:cubicBezTo>
                  <a:cubicBezTo>
                    <a:pt x="1682" y="1468"/>
                    <a:pt x="1682" y="1491"/>
                    <a:pt x="1704" y="1491"/>
                  </a:cubicBezTo>
                  <a:cubicBezTo>
                    <a:pt x="1726" y="1491"/>
                    <a:pt x="1726" y="1502"/>
                    <a:pt x="1738" y="1547"/>
                  </a:cubicBezTo>
                  <a:cubicBezTo>
                    <a:pt x="1749" y="1592"/>
                    <a:pt x="1794" y="1659"/>
                    <a:pt x="1805" y="1681"/>
                  </a:cubicBezTo>
                  <a:cubicBezTo>
                    <a:pt x="1816" y="1704"/>
                    <a:pt x="1827" y="1771"/>
                    <a:pt x="1827" y="1838"/>
                  </a:cubicBezTo>
                  <a:cubicBezTo>
                    <a:pt x="1827" y="1906"/>
                    <a:pt x="1827" y="1939"/>
                    <a:pt x="1805" y="1962"/>
                  </a:cubicBezTo>
                  <a:cubicBezTo>
                    <a:pt x="1794" y="1984"/>
                    <a:pt x="1760" y="2051"/>
                    <a:pt x="1760" y="2096"/>
                  </a:cubicBezTo>
                  <a:cubicBezTo>
                    <a:pt x="1760" y="2141"/>
                    <a:pt x="1782" y="2175"/>
                    <a:pt x="1771" y="2208"/>
                  </a:cubicBezTo>
                  <a:cubicBezTo>
                    <a:pt x="1749" y="2242"/>
                    <a:pt x="1749" y="2275"/>
                    <a:pt x="1760" y="2309"/>
                  </a:cubicBezTo>
                  <a:cubicBezTo>
                    <a:pt x="1771" y="2342"/>
                    <a:pt x="1771" y="2387"/>
                    <a:pt x="1782" y="2399"/>
                  </a:cubicBezTo>
                  <a:cubicBezTo>
                    <a:pt x="1794" y="2421"/>
                    <a:pt x="1816" y="2354"/>
                    <a:pt x="1827" y="2376"/>
                  </a:cubicBezTo>
                  <a:cubicBezTo>
                    <a:pt x="1827" y="2399"/>
                    <a:pt x="1838" y="2443"/>
                    <a:pt x="1861" y="2432"/>
                  </a:cubicBezTo>
                  <a:cubicBezTo>
                    <a:pt x="1872" y="2421"/>
                    <a:pt x="1895" y="2410"/>
                    <a:pt x="1895" y="2432"/>
                  </a:cubicBezTo>
                  <a:cubicBezTo>
                    <a:pt x="1895" y="2455"/>
                    <a:pt x="1883" y="2511"/>
                    <a:pt x="1917" y="2511"/>
                  </a:cubicBezTo>
                  <a:cubicBezTo>
                    <a:pt x="1951" y="2511"/>
                    <a:pt x="1962" y="2544"/>
                    <a:pt x="1973" y="2566"/>
                  </a:cubicBezTo>
                  <a:cubicBezTo>
                    <a:pt x="1973" y="2578"/>
                    <a:pt x="1995" y="2611"/>
                    <a:pt x="2029" y="2589"/>
                  </a:cubicBezTo>
                  <a:cubicBezTo>
                    <a:pt x="2051" y="2578"/>
                    <a:pt x="2063" y="2578"/>
                    <a:pt x="2063" y="2600"/>
                  </a:cubicBezTo>
                  <a:cubicBezTo>
                    <a:pt x="2063" y="2623"/>
                    <a:pt x="2096" y="2679"/>
                    <a:pt x="2152" y="2724"/>
                  </a:cubicBezTo>
                  <a:cubicBezTo>
                    <a:pt x="2208" y="2768"/>
                    <a:pt x="2331" y="2835"/>
                    <a:pt x="2365" y="2858"/>
                  </a:cubicBezTo>
                  <a:cubicBezTo>
                    <a:pt x="2410" y="2880"/>
                    <a:pt x="2466" y="2981"/>
                    <a:pt x="2522" y="3014"/>
                  </a:cubicBezTo>
                  <a:cubicBezTo>
                    <a:pt x="2567" y="3047"/>
                    <a:pt x="2578" y="3036"/>
                    <a:pt x="2589" y="3081"/>
                  </a:cubicBezTo>
                  <a:cubicBezTo>
                    <a:pt x="2612" y="3126"/>
                    <a:pt x="2634" y="3171"/>
                    <a:pt x="2690" y="3193"/>
                  </a:cubicBezTo>
                  <a:cubicBezTo>
                    <a:pt x="2746" y="3227"/>
                    <a:pt x="2780" y="3249"/>
                    <a:pt x="2825" y="3249"/>
                  </a:cubicBezTo>
                  <a:cubicBezTo>
                    <a:pt x="2858" y="3260"/>
                    <a:pt x="2881" y="3294"/>
                    <a:pt x="2903" y="3350"/>
                  </a:cubicBezTo>
                  <a:cubicBezTo>
                    <a:pt x="2926" y="3406"/>
                    <a:pt x="2926" y="3451"/>
                    <a:pt x="2948" y="3462"/>
                  </a:cubicBezTo>
                  <a:cubicBezTo>
                    <a:pt x="2959" y="3462"/>
                    <a:pt x="2959" y="3541"/>
                    <a:pt x="2982" y="3574"/>
                  </a:cubicBezTo>
                  <a:cubicBezTo>
                    <a:pt x="2993" y="3619"/>
                    <a:pt x="2993" y="3653"/>
                    <a:pt x="2982" y="3664"/>
                  </a:cubicBezTo>
                  <a:cubicBezTo>
                    <a:pt x="2959" y="3675"/>
                    <a:pt x="2971" y="3742"/>
                    <a:pt x="2993" y="3754"/>
                  </a:cubicBezTo>
                  <a:cubicBezTo>
                    <a:pt x="3015" y="3765"/>
                    <a:pt x="3015" y="3809"/>
                    <a:pt x="3015" y="3821"/>
                  </a:cubicBezTo>
                  <a:cubicBezTo>
                    <a:pt x="3026" y="3843"/>
                    <a:pt x="3049" y="3877"/>
                    <a:pt x="3116" y="3821"/>
                  </a:cubicBezTo>
                  <a:cubicBezTo>
                    <a:pt x="3183" y="3776"/>
                    <a:pt x="3284" y="3709"/>
                    <a:pt x="3307" y="3675"/>
                  </a:cubicBezTo>
                  <a:cubicBezTo>
                    <a:pt x="3329" y="3653"/>
                    <a:pt x="3407" y="3563"/>
                    <a:pt x="3430" y="3529"/>
                  </a:cubicBezTo>
                  <a:cubicBezTo>
                    <a:pt x="3441" y="3496"/>
                    <a:pt x="3430" y="3406"/>
                    <a:pt x="3396" y="3361"/>
                  </a:cubicBezTo>
                  <a:cubicBezTo>
                    <a:pt x="3374" y="3316"/>
                    <a:pt x="3351" y="3305"/>
                    <a:pt x="3329" y="3283"/>
                  </a:cubicBezTo>
                  <a:cubicBezTo>
                    <a:pt x="3295" y="3260"/>
                    <a:pt x="3284" y="3193"/>
                    <a:pt x="3262" y="3171"/>
                  </a:cubicBezTo>
                  <a:cubicBezTo>
                    <a:pt x="3251" y="3148"/>
                    <a:pt x="3206" y="3103"/>
                    <a:pt x="3195" y="3081"/>
                  </a:cubicBezTo>
                  <a:cubicBezTo>
                    <a:pt x="3172" y="3059"/>
                    <a:pt x="3172" y="3025"/>
                    <a:pt x="3127" y="3003"/>
                  </a:cubicBezTo>
                  <a:cubicBezTo>
                    <a:pt x="3094" y="2970"/>
                    <a:pt x="3094" y="2937"/>
                    <a:pt x="3038" y="2903"/>
                  </a:cubicBezTo>
                  <a:cubicBezTo>
                    <a:pt x="2993" y="2858"/>
                    <a:pt x="2982" y="2824"/>
                    <a:pt x="2971" y="2802"/>
                  </a:cubicBezTo>
                  <a:cubicBezTo>
                    <a:pt x="2959" y="2791"/>
                    <a:pt x="2948" y="2768"/>
                    <a:pt x="2926" y="2779"/>
                  </a:cubicBezTo>
                  <a:cubicBezTo>
                    <a:pt x="2903" y="2779"/>
                    <a:pt x="2903" y="2791"/>
                    <a:pt x="2914" y="2824"/>
                  </a:cubicBezTo>
                  <a:cubicBezTo>
                    <a:pt x="2926" y="2858"/>
                    <a:pt x="2914" y="2858"/>
                    <a:pt x="2892" y="2869"/>
                  </a:cubicBezTo>
                  <a:cubicBezTo>
                    <a:pt x="2869" y="2869"/>
                    <a:pt x="2858" y="2914"/>
                    <a:pt x="2892" y="2914"/>
                  </a:cubicBezTo>
                  <a:cubicBezTo>
                    <a:pt x="2926" y="2903"/>
                    <a:pt x="2937" y="2948"/>
                    <a:pt x="2903" y="2970"/>
                  </a:cubicBezTo>
                  <a:cubicBezTo>
                    <a:pt x="2869" y="2992"/>
                    <a:pt x="2825" y="2970"/>
                    <a:pt x="2836" y="2937"/>
                  </a:cubicBezTo>
                  <a:cubicBezTo>
                    <a:pt x="2836" y="2903"/>
                    <a:pt x="2825" y="2880"/>
                    <a:pt x="2791" y="2847"/>
                  </a:cubicBezTo>
                  <a:cubicBezTo>
                    <a:pt x="2769" y="2824"/>
                    <a:pt x="2713" y="2746"/>
                    <a:pt x="2679" y="2701"/>
                  </a:cubicBezTo>
                  <a:cubicBezTo>
                    <a:pt x="2657" y="2656"/>
                    <a:pt x="2623" y="2600"/>
                    <a:pt x="2623" y="2600"/>
                  </a:cubicBezTo>
                  <a:cubicBezTo>
                    <a:pt x="2612" y="2589"/>
                    <a:pt x="2623" y="2544"/>
                    <a:pt x="2623" y="2533"/>
                  </a:cubicBezTo>
                  <a:cubicBezTo>
                    <a:pt x="2634" y="2522"/>
                    <a:pt x="2668" y="2477"/>
                    <a:pt x="2679" y="2432"/>
                  </a:cubicBezTo>
                  <a:cubicBezTo>
                    <a:pt x="2679" y="2387"/>
                    <a:pt x="2634" y="2298"/>
                    <a:pt x="2589" y="2242"/>
                  </a:cubicBezTo>
                  <a:cubicBezTo>
                    <a:pt x="2544" y="2197"/>
                    <a:pt x="2500" y="2141"/>
                    <a:pt x="2511" y="2073"/>
                  </a:cubicBezTo>
                  <a:cubicBezTo>
                    <a:pt x="2511" y="2017"/>
                    <a:pt x="2511" y="1950"/>
                    <a:pt x="2477" y="1917"/>
                  </a:cubicBezTo>
                  <a:cubicBezTo>
                    <a:pt x="2444" y="1894"/>
                    <a:pt x="2388" y="1838"/>
                    <a:pt x="2365" y="1793"/>
                  </a:cubicBezTo>
                  <a:cubicBezTo>
                    <a:pt x="2343" y="1760"/>
                    <a:pt x="2331" y="1681"/>
                    <a:pt x="2320" y="1648"/>
                  </a:cubicBezTo>
                  <a:cubicBezTo>
                    <a:pt x="2298" y="1603"/>
                    <a:pt x="2298" y="1535"/>
                    <a:pt x="2331" y="1513"/>
                  </a:cubicBezTo>
                  <a:cubicBezTo>
                    <a:pt x="2365" y="1480"/>
                    <a:pt x="2354" y="1468"/>
                    <a:pt x="2343" y="1468"/>
                  </a:cubicBezTo>
                  <a:cubicBezTo>
                    <a:pt x="2320" y="1468"/>
                    <a:pt x="2298" y="1435"/>
                    <a:pt x="2298" y="1401"/>
                  </a:cubicBezTo>
                  <a:cubicBezTo>
                    <a:pt x="2287" y="1368"/>
                    <a:pt x="2276" y="1289"/>
                    <a:pt x="2264" y="1255"/>
                  </a:cubicBezTo>
                  <a:cubicBezTo>
                    <a:pt x="2253" y="1211"/>
                    <a:pt x="2242" y="1166"/>
                    <a:pt x="2208" y="1121"/>
                  </a:cubicBezTo>
                  <a:cubicBezTo>
                    <a:pt x="2175" y="1076"/>
                    <a:pt x="2152" y="1031"/>
                    <a:pt x="2141" y="1009"/>
                  </a:cubicBezTo>
                  <a:cubicBezTo>
                    <a:pt x="2119" y="986"/>
                    <a:pt x="2096" y="953"/>
                    <a:pt x="2051" y="919"/>
                  </a:cubicBezTo>
                  <a:cubicBezTo>
                    <a:pt x="2007" y="897"/>
                    <a:pt x="1995" y="897"/>
                    <a:pt x="1995" y="919"/>
                  </a:cubicBezTo>
                  <a:cubicBezTo>
                    <a:pt x="1995" y="942"/>
                    <a:pt x="1995" y="953"/>
                    <a:pt x="2018" y="964"/>
                  </a:cubicBezTo>
                  <a:cubicBezTo>
                    <a:pt x="2040" y="975"/>
                    <a:pt x="2040" y="1009"/>
                    <a:pt x="2029" y="1031"/>
                  </a:cubicBezTo>
                  <a:cubicBezTo>
                    <a:pt x="2018" y="1054"/>
                    <a:pt x="2018" y="1087"/>
                    <a:pt x="2063" y="1087"/>
                  </a:cubicBezTo>
                  <a:cubicBezTo>
                    <a:pt x="2119" y="1087"/>
                    <a:pt x="2130" y="1121"/>
                    <a:pt x="2130" y="1144"/>
                  </a:cubicBezTo>
                  <a:cubicBezTo>
                    <a:pt x="2119" y="1166"/>
                    <a:pt x="2063" y="1177"/>
                    <a:pt x="2040" y="1144"/>
                  </a:cubicBezTo>
                  <a:cubicBezTo>
                    <a:pt x="2007" y="1099"/>
                    <a:pt x="1995" y="1076"/>
                    <a:pt x="1973" y="1065"/>
                  </a:cubicBezTo>
                  <a:cubicBezTo>
                    <a:pt x="1951" y="1054"/>
                    <a:pt x="1928" y="1020"/>
                    <a:pt x="1940" y="986"/>
                  </a:cubicBezTo>
                  <a:cubicBezTo>
                    <a:pt x="1962" y="953"/>
                    <a:pt x="1962" y="931"/>
                    <a:pt x="1951" y="897"/>
                  </a:cubicBezTo>
                  <a:cubicBezTo>
                    <a:pt x="1928" y="863"/>
                    <a:pt x="1917" y="852"/>
                    <a:pt x="1917" y="830"/>
                  </a:cubicBezTo>
                  <a:cubicBezTo>
                    <a:pt x="1906" y="796"/>
                    <a:pt x="1906" y="762"/>
                    <a:pt x="1883" y="740"/>
                  </a:cubicBezTo>
                  <a:cubicBezTo>
                    <a:pt x="1850" y="717"/>
                    <a:pt x="1805" y="684"/>
                    <a:pt x="1794" y="628"/>
                  </a:cubicBezTo>
                  <a:cubicBezTo>
                    <a:pt x="1771" y="572"/>
                    <a:pt x="1760" y="516"/>
                    <a:pt x="1760" y="482"/>
                  </a:cubicBezTo>
                  <a:cubicBezTo>
                    <a:pt x="1749" y="460"/>
                    <a:pt x="1738" y="437"/>
                    <a:pt x="1715" y="426"/>
                  </a:cubicBezTo>
                  <a:cubicBezTo>
                    <a:pt x="1693" y="426"/>
                    <a:pt x="1626" y="404"/>
                    <a:pt x="1592" y="370"/>
                  </a:cubicBezTo>
                  <a:cubicBezTo>
                    <a:pt x="1558" y="325"/>
                    <a:pt x="1525" y="247"/>
                    <a:pt x="1525" y="202"/>
                  </a:cubicBezTo>
                  <a:cubicBezTo>
                    <a:pt x="1513" y="157"/>
                    <a:pt x="1502" y="79"/>
                    <a:pt x="1502" y="79"/>
                  </a:cubicBezTo>
                  <a:lnTo>
                    <a:pt x="1502" y="79"/>
                  </a:lnTo>
                  <a:cubicBezTo>
                    <a:pt x="583" y="0"/>
                    <a:pt x="583" y="0"/>
                    <a:pt x="583" y="0"/>
                  </a:cubicBezTo>
                  <a:cubicBezTo>
                    <a:pt x="572" y="23"/>
                    <a:pt x="561" y="34"/>
                    <a:pt x="538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2"/>
            <p:cNvSpPr>
              <a:spLocks noChangeArrowheads="1"/>
            </p:cNvSpPr>
            <p:nvPr/>
          </p:nvSpPr>
          <p:spPr bwMode="auto">
            <a:xfrm>
              <a:off x="2758202" y="1557338"/>
              <a:ext cx="831583" cy="1197398"/>
            </a:xfrm>
            <a:custGeom>
              <a:avLst/>
              <a:gdLst>
                <a:gd name="T0" fmla="*/ 1536 w 2399"/>
                <a:gd name="T1" fmla="*/ 3362 h 3453"/>
                <a:gd name="T2" fmla="*/ 2376 w 2399"/>
                <a:gd name="T3" fmla="*/ 3362 h 3453"/>
                <a:gd name="T4" fmla="*/ 2208 w 2399"/>
                <a:gd name="T5" fmla="*/ 3071 h 3453"/>
                <a:gd name="T6" fmla="*/ 2107 w 2399"/>
                <a:gd name="T7" fmla="*/ 2869 h 3453"/>
                <a:gd name="T8" fmla="*/ 2006 w 2399"/>
                <a:gd name="T9" fmla="*/ 2768 h 3453"/>
                <a:gd name="T10" fmla="*/ 2006 w 2399"/>
                <a:gd name="T11" fmla="*/ 2645 h 3453"/>
                <a:gd name="T12" fmla="*/ 1905 w 2399"/>
                <a:gd name="T13" fmla="*/ 2488 h 3453"/>
                <a:gd name="T14" fmla="*/ 1558 w 2399"/>
                <a:gd name="T15" fmla="*/ 2129 h 3453"/>
                <a:gd name="T16" fmla="*/ 1479 w 2399"/>
                <a:gd name="T17" fmla="*/ 2006 h 3453"/>
                <a:gd name="T18" fmla="*/ 1401 w 2399"/>
                <a:gd name="T19" fmla="*/ 1950 h 3453"/>
                <a:gd name="T20" fmla="*/ 1378 w 2399"/>
                <a:gd name="T21" fmla="*/ 1838 h 3453"/>
                <a:gd name="T22" fmla="*/ 1334 w 2399"/>
                <a:gd name="T23" fmla="*/ 1278 h 3453"/>
                <a:gd name="T24" fmla="*/ 1311 w 2399"/>
                <a:gd name="T25" fmla="*/ 908 h 3453"/>
                <a:gd name="T26" fmla="*/ 1322 w 2399"/>
                <a:gd name="T27" fmla="*/ 740 h 3453"/>
                <a:gd name="T28" fmla="*/ 1222 w 2399"/>
                <a:gd name="T29" fmla="*/ 594 h 3453"/>
                <a:gd name="T30" fmla="*/ 1267 w 2399"/>
                <a:gd name="T31" fmla="*/ 549 h 3453"/>
                <a:gd name="T32" fmla="*/ 1278 w 2399"/>
                <a:gd name="T33" fmla="*/ 404 h 3453"/>
                <a:gd name="T34" fmla="*/ 1423 w 2399"/>
                <a:gd name="T35" fmla="*/ 168 h 3453"/>
                <a:gd name="T36" fmla="*/ 1434 w 2399"/>
                <a:gd name="T37" fmla="*/ 168 h 3453"/>
                <a:gd name="T38" fmla="*/ 1468 w 2399"/>
                <a:gd name="T39" fmla="*/ 101 h 3453"/>
                <a:gd name="T40" fmla="*/ 34 w 2399"/>
                <a:gd name="T41" fmla="*/ 11 h 3453"/>
                <a:gd name="T42" fmla="*/ 45 w 2399"/>
                <a:gd name="T43" fmla="*/ 157 h 3453"/>
                <a:gd name="T44" fmla="*/ 67 w 2399"/>
                <a:gd name="T45" fmla="*/ 224 h 3453"/>
                <a:gd name="T46" fmla="*/ 134 w 2399"/>
                <a:gd name="T47" fmla="*/ 381 h 3453"/>
                <a:gd name="T48" fmla="*/ 191 w 2399"/>
                <a:gd name="T49" fmla="*/ 493 h 3453"/>
                <a:gd name="T50" fmla="*/ 258 w 2399"/>
                <a:gd name="T51" fmla="*/ 628 h 3453"/>
                <a:gd name="T52" fmla="*/ 224 w 2399"/>
                <a:gd name="T53" fmla="*/ 673 h 3453"/>
                <a:gd name="T54" fmla="*/ 258 w 2399"/>
                <a:gd name="T55" fmla="*/ 818 h 3453"/>
                <a:gd name="T56" fmla="*/ 403 w 2399"/>
                <a:gd name="T57" fmla="*/ 1132 h 3453"/>
                <a:gd name="T58" fmla="*/ 471 w 2399"/>
                <a:gd name="T59" fmla="*/ 1233 h 3453"/>
                <a:gd name="T60" fmla="*/ 538 w 2399"/>
                <a:gd name="T61" fmla="*/ 1435 h 3453"/>
                <a:gd name="T62" fmla="*/ 572 w 2399"/>
                <a:gd name="T63" fmla="*/ 1625 h 3453"/>
                <a:gd name="T64" fmla="*/ 627 w 2399"/>
                <a:gd name="T65" fmla="*/ 1692 h 3453"/>
                <a:gd name="T66" fmla="*/ 605 w 2399"/>
                <a:gd name="T67" fmla="*/ 1916 h 3453"/>
                <a:gd name="T68" fmla="*/ 706 w 2399"/>
                <a:gd name="T69" fmla="*/ 2017 h 3453"/>
                <a:gd name="T70" fmla="*/ 729 w 2399"/>
                <a:gd name="T71" fmla="*/ 2129 h 3453"/>
                <a:gd name="T72" fmla="*/ 941 w 2399"/>
                <a:gd name="T73" fmla="*/ 2297 h 3453"/>
                <a:gd name="T74" fmla="*/ 1154 w 2399"/>
                <a:gd name="T75" fmla="*/ 2410 h 3453"/>
                <a:gd name="T76" fmla="*/ 1300 w 2399"/>
                <a:gd name="T77" fmla="*/ 2679 h 3453"/>
                <a:gd name="T78" fmla="*/ 1434 w 2399"/>
                <a:gd name="T79" fmla="*/ 2824 h 3453"/>
                <a:gd name="T80" fmla="*/ 1569 w 2399"/>
                <a:gd name="T81" fmla="*/ 2959 h 3453"/>
                <a:gd name="T82" fmla="*/ 1569 w 2399"/>
                <a:gd name="T83" fmla="*/ 3160 h 3453"/>
                <a:gd name="T84" fmla="*/ 1580 w 2399"/>
                <a:gd name="T85" fmla="*/ 3273 h 3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9" h="3453">
                  <a:moveTo>
                    <a:pt x="1547" y="3306"/>
                  </a:moveTo>
                  <a:lnTo>
                    <a:pt x="1547" y="3306"/>
                  </a:lnTo>
                  <a:cubicBezTo>
                    <a:pt x="1536" y="3317"/>
                    <a:pt x="1547" y="3362"/>
                    <a:pt x="1536" y="3362"/>
                  </a:cubicBezTo>
                  <a:cubicBezTo>
                    <a:pt x="1524" y="3373"/>
                    <a:pt x="1502" y="3362"/>
                    <a:pt x="1479" y="3373"/>
                  </a:cubicBezTo>
                  <a:cubicBezTo>
                    <a:pt x="2398" y="3452"/>
                    <a:pt x="2398" y="3452"/>
                    <a:pt x="2398" y="3452"/>
                  </a:cubicBezTo>
                  <a:cubicBezTo>
                    <a:pt x="2398" y="3429"/>
                    <a:pt x="2387" y="3396"/>
                    <a:pt x="2376" y="3362"/>
                  </a:cubicBezTo>
                  <a:cubicBezTo>
                    <a:pt x="2354" y="3340"/>
                    <a:pt x="2342" y="3295"/>
                    <a:pt x="2342" y="3250"/>
                  </a:cubicBezTo>
                  <a:cubicBezTo>
                    <a:pt x="2342" y="3205"/>
                    <a:pt x="2331" y="3160"/>
                    <a:pt x="2309" y="3149"/>
                  </a:cubicBezTo>
                  <a:cubicBezTo>
                    <a:pt x="2298" y="3138"/>
                    <a:pt x="2241" y="3104"/>
                    <a:pt x="2208" y="3071"/>
                  </a:cubicBezTo>
                  <a:cubicBezTo>
                    <a:pt x="2174" y="3037"/>
                    <a:pt x="2174" y="3015"/>
                    <a:pt x="2174" y="2981"/>
                  </a:cubicBezTo>
                  <a:cubicBezTo>
                    <a:pt x="2174" y="2959"/>
                    <a:pt x="2163" y="2880"/>
                    <a:pt x="2140" y="2869"/>
                  </a:cubicBezTo>
                  <a:cubicBezTo>
                    <a:pt x="2129" y="2846"/>
                    <a:pt x="2107" y="2858"/>
                    <a:pt x="2107" y="2869"/>
                  </a:cubicBezTo>
                  <a:cubicBezTo>
                    <a:pt x="2107" y="2891"/>
                    <a:pt x="2085" y="2835"/>
                    <a:pt x="2085" y="2813"/>
                  </a:cubicBezTo>
                  <a:cubicBezTo>
                    <a:pt x="2085" y="2791"/>
                    <a:pt x="2051" y="2746"/>
                    <a:pt x="2029" y="2746"/>
                  </a:cubicBezTo>
                  <a:cubicBezTo>
                    <a:pt x="2006" y="2735"/>
                    <a:pt x="2006" y="2746"/>
                    <a:pt x="2006" y="2768"/>
                  </a:cubicBezTo>
                  <a:cubicBezTo>
                    <a:pt x="2006" y="2779"/>
                    <a:pt x="1995" y="2768"/>
                    <a:pt x="1972" y="2746"/>
                  </a:cubicBezTo>
                  <a:cubicBezTo>
                    <a:pt x="1961" y="2723"/>
                    <a:pt x="1950" y="2701"/>
                    <a:pt x="1972" y="2690"/>
                  </a:cubicBezTo>
                  <a:cubicBezTo>
                    <a:pt x="2006" y="2679"/>
                    <a:pt x="2017" y="2656"/>
                    <a:pt x="2006" y="2645"/>
                  </a:cubicBezTo>
                  <a:cubicBezTo>
                    <a:pt x="2006" y="2634"/>
                    <a:pt x="1995" y="2634"/>
                    <a:pt x="1972" y="2622"/>
                  </a:cubicBezTo>
                  <a:cubicBezTo>
                    <a:pt x="1961" y="2611"/>
                    <a:pt x="1939" y="2600"/>
                    <a:pt x="1939" y="2566"/>
                  </a:cubicBezTo>
                  <a:cubicBezTo>
                    <a:pt x="1927" y="2533"/>
                    <a:pt x="1927" y="2510"/>
                    <a:pt x="1905" y="2488"/>
                  </a:cubicBezTo>
                  <a:cubicBezTo>
                    <a:pt x="1883" y="2466"/>
                    <a:pt x="1816" y="2365"/>
                    <a:pt x="1782" y="2331"/>
                  </a:cubicBezTo>
                  <a:cubicBezTo>
                    <a:pt x="1760" y="2286"/>
                    <a:pt x="1659" y="2186"/>
                    <a:pt x="1625" y="2174"/>
                  </a:cubicBezTo>
                  <a:cubicBezTo>
                    <a:pt x="1603" y="2152"/>
                    <a:pt x="1591" y="2129"/>
                    <a:pt x="1558" y="2129"/>
                  </a:cubicBezTo>
                  <a:cubicBezTo>
                    <a:pt x="1536" y="2129"/>
                    <a:pt x="1513" y="2129"/>
                    <a:pt x="1491" y="2118"/>
                  </a:cubicBezTo>
                  <a:cubicBezTo>
                    <a:pt x="1479" y="2118"/>
                    <a:pt x="1479" y="2096"/>
                    <a:pt x="1479" y="2073"/>
                  </a:cubicBezTo>
                  <a:cubicBezTo>
                    <a:pt x="1491" y="2040"/>
                    <a:pt x="1502" y="2006"/>
                    <a:pt x="1479" y="2006"/>
                  </a:cubicBezTo>
                  <a:cubicBezTo>
                    <a:pt x="1468" y="2006"/>
                    <a:pt x="1457" y="2017"/>
                    <a:pt x="1446" y="2028"/>
                  </a:cubicBezTo>
                  <a:cubicBezTo>
                    <a:pt x="1434" y="2040"/>
                    <a:pt x="1434" y="2006"/>
                    <a:pt x="1434" y="1995"/>
                  </a:cubicBezTo>
                  <a:cubicBezTo>
                    <a:pt x="1434" y="1973"/>
                    <a:pt x="1423" y="1961"/>
                    <a:pt x="1401" y="1950"/>
                  </a:cubicBezTo>
                  <a:cubicBezTo>
                    <a:pt x="1378" y="1939"/>
                    <a:pt x="1356" y="1916"/>
                    <a:pt x="1378" y="1905"/>
                  </a:cubicBezTo>
                  <a:cubicBezTo>
                    <a:pt x="1412" y="1894"/>
                    <a:pt x="1423" y="1872"/>
                    <a:pt x="1412" y="1860"/>
                  </a:cubicBezTo>
                  <a:cubicBezTo>
                    <a:pt x="1412" y="1849"/>
                    <a:pt x="1378" y="1849"/>
                    <a:pt x="1378" y="1838"/>
                  </a:cubicBezTo>
                  <a:cubicBezTo>
                    <a:pt x="1367" y="1815"/>
                    <a:pt x="1367" y="1760"/>
                    <a:pt x="1367" y="1636"/>
                  </a:cubicBezTo>
                  <a:cubicBezTo>
                    <a:pt x="1356" y="1524"/>
                    <a:pt x="1356" y="1334"/>
                    <a:pt x="1356" y="1300"/>
                  </a:cubicBezTo>
                  <a:cubicBezTo>
                    <a:pt x="1356" y="1255"/>
                    <a:pt x="1345" y="1266"/>
                    <a:pt x="1334" y="1278"/>
                  </a:cubicBezTo>
                  <a:cubicBezTo>
                    <a:pt x="1322" y="1300"/>
                    <a:pt x="1300" y="1311"/>
                    <a:pt x="1289" y="1244"/>
                  </a:cubicBezTo>
                  <a:cubicBezTo>
                    <a:pt x="1278" y="1166"/>
                    <a:pt x="1278" y="1098"/>
                    <a:pt x="1289" y="1065"/>
                  </a:cubicBezTo>
                  <a:cubicBezTo>
                    <a:pt x="1289" y="1042"/>
                    <a:pt x="1267" y="953"/>
                    <a:pt x="1311" y="908"/>
                  </a:cubicBezTo>
                  <a:cubicBezTo>
                    <a:pt x="1356" y="863"/>
                    <a:pt x="1378" y="818"/>
                    <a:pt x="1401" y="796"/>
                  </a:cubicBezTo>
                  <a:cubicBezTo>
                    <a:pt x="1390" y="784"/>
                    <a:pt x="1378" y="773"/>
                    <a:pt x="1356" y="784"/>
                  </a:cubicBezTo>
                  <a:cubicBezTo>
                    <a:pt x="1322" y="796"/>
                    <a:pt x="1334" y="784"/>
                    <a:pt x="1322" y="740"/>
                  </a:cubicBezTo>
                  <a:cubicBezTo>
                    <a:pt x="1322" y="706"/>
                    <a:pt x="1322" y="706"/>
                    <a:pt x="1289" y="706"/>
                  </a:cubicBezTo>
                  <a:cubicBezTo>
                    <a:pt x="1244" y="706"/>
                    <a:pt x="1267" y="684"/>
                    <a:pt x="1267" y="650"/>
                  </a:cubicBezTo>
                  <a:cubicBezTo>
                    <a:pt x="1267" y="605"/>
                    <a:pt x="1233" y="617"/>
                    <a:pt x="1222" y="594"/>
                  </a:cubicBezTo>
                  <a:cubicBezTo>
                    <a:pt x="1199" y="560"/>
                    <a:pt x="1210" y="538"/>
                    <a:pt x="1244" y="560"/>
                  </a:cubicBezTo>
                  <a:cubicBezTo>
                    <a:pt x="1255" y="572"/>
                    <a:pt x="1267" y="572"/>
                    <a:pt x="1267" y="560"/>
                  </a:cubicBezTo>
                  <a:cubicBezTo>
                    <a:pt x="1267" y="560"/>
                    <a:pt x="1267" y="560"/>
                    <a:pt x="1267" y="549"/>
                  </a:cubicBezTo>
                  <a:lnTo>
                    <a:pt x="1267" y="549"/>
                  </a:lnTo>
                  <a:lnTo>
                    <a:pt x="1267" y="549"/>
                  </a:lnTo>
                  <a:cubicBezTo>
                    <a:pt x="1267" y="516"/>
                    <a:pt x="1278" y="426"/>
                    <a:pt x="1278" y="404"/>
                  </a:cubicBezTo>
                  <a:cubicBezTo>
                    <a:pt x="1278" y="370"/>
                    <a:pt x="1233" y="370"/>
                    <a:pt x="1233" y="325"/>
                  </a:cubicBezTo>
                  <a:cubicBezTo>
                    <a:pt x="1233" y="280"/>
                    <a:pt x="1367" y="180"/>
                    <a:pt x="1412" y="168"/>
                  </a:cubicBezTo>
                  <a:cubicBezTo>
                    <a:pt x="1423" y="168"/>
                    <a:pt x="1423" y="168"/>
                    <a:pt x="1423" y="168"/>
                  </a:cubicBezTo>
                  <a:lnTo>
                    <a:pt x="1423" y="168"/>
                  </a:lnTo>
                  <a:lnTo>
                    <a:pt x="1434" y="168"/>
                  </a:lnTo>
                  <a:lnTo>
                    <a:pt x="1434" y="168"/>
                  </a:lnTo>
                  <a:lnTo>
                    <a:pt x="1434" y="157"/>
                  </a:lnTo>
                  <a:lnTo>
                    <a:pt x="1434" y="157"/>
                  </a:lnTo>
                  <a:cubicBezTo>
                    <a:pt x="1468" y="135"/>
                    <a:pt x="1468" y="101"/>
                    <a:pt x="1468" y="101"/>
                  </a:cubicBezTo>
                  <a:cubicBezTo>
                    <a:pt x="1468" y="0"/>
                    <a:pt x="1468" y="0"/>
                    <a:pt x="146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1"/>
                    <a:pt x="45" y="11"/>
                    <a:pt x="34" y="11"/>
                  </a:cubicBezTo>
                  <a:cubicBezTo>
                    <a:pt x="34" y="22"/>
                    <a:pt x="11" y="34"/>
                    <a:pt x="0" y="34"/>
                  </a:cubicBezTo>
                  <a:cubicBezTo>
                    <a:pt x="0" y="45"/>
                    <a:pt x="0" y="112"/>
                    <a:pt x="11" y="112"/>
                  </a:cubicBezTo>
                  <a:cubicBezTo>
                    <a:pt x="22" y="124"/>
                    <a:pt x="45" y="146"/>
                    <a:pt x="45" y="157"/>
                  </a:cubicBezTo>
                  <a:cubicBezTo>
                    <a:pt x="45" y="168"/>
                    <a:pt x="34" y="191"/>
                    <a:pt x="34" y="202"/>
                  </a:cubicBezTo>
                  <a:cubicBezTo>
                    <a:pt x="22" y="213"/>
                    <a:pt x="22" y="235"/>
                    <a:pt x="34" y="235"/>
                  </a:cubicBezTo>
                  <a:cubicBezTo>
                    <a:pt x="45" y="247"/>
                    <a:pt x="45" y="224"/>
                    <a:pt x="67" y="224"/>
                  </a:cubicBezTo>
                  <a:cubicBezTo>
                    <a:pt x="78" y="224"/>
                    <a:pt x="101" y="224"/>
                    <a:pt x="101" y="258"/>
                  </a:cubicBezTo>
                  <a:cubicBezTo>
                    <a:pt x="101" y="280"/>
                    <a:pt x="90" y="325"/>
                    <a:pt x="101" y="336"/>
                  </a:cubicBezTo>
                  <a:cubicBezTo>
                    <a:pt x="101" y="348"/>
                    <a:pt x="123" y="381"/>
                    <a:pt x="134" y="381"/>
                  </a:cubicBezTo>
                  <a:cubicBezTo>
                    <a:pt x="146" y="393"/>
                    <a:pt x="146" y="415"/>
                    <a:pt x="146" y="448"/>
                  </a:cubicBezTo>
                  <a:cubicBezTo>
                    <a:pt x="146" y="471"/>
                    <a:pt x="146" y="471"/>
                    <a:pt x="168" y="471"/>
                  </a:cubicBezTo>
                  <a:cubicBezTo>
                    <a:pt x="191" y="460"/>
                    <a:pt x="191" y="471"/>
                    <a:pt x="191" y="493"/>
                  </a:cubicBezTo>
                  <a:cubicBezTo>
                    <a:pt x="191" y="516"/>
                    <a:pt x="191" y="538"/>
                    <a:pt x="213" y="538"/>
                  </a:cubicBezTo>
                  <a:cubicBezTo>
                    <a:pt x="236" y="538"/>
                    <a:pt x="258" y="549"/>
                    <a:pt x="269" y="572"/>
                  </a:cubicBezTo>
                  <a:cubicBezTo>
                    <a:pt x="280" y="594"/>
                    <a:pt x="269" y="617"/>
                    <a:pt x="258" y="628"/>
                  </a:cubicBezTo>
                  <a:cubicBezTo>
                    <a:pt x="236" y="628"/>
                    <a:pt x="191" y="583"/>
                    <a:pt x="168" y="572"/>
                  </a:cubicBezTo>
                  <a:cubicBezTo>
                    <a:pt x="146" y="560"/>
                    <a:pt x="112" y="572"/>
                    <a:pt x="134" y="583"/>
                  </a:cubicBezTo>
                  <a:cubicBezTo>
                    <a:pt x="146" y="605"/>
                    <a:pt x="213" y="650"/>
                    <a:pt x="224" y="673"/>
                  </a:cubicBezTo>
                  <a:cubicBezTo>
                    <a:pt x="236" y="684"/>
                    <a:pt x="224" y="717"/>
                    <a:pt x="236" y="717"/>
                  </a:cubicBezTo>
                  <a:cubicBezTo>
                    <a:pt x="258" y="717"/>
                    <a:pt x="247" y="729"/>
                    <a:pt x="224" y="751"/>
                  </a:cubicBezTo>
                  <a:cubicBezTo>
                    <a:pt x="213" y="773"/>
                    <a:pt x="224" y="796"/>
                    <a:pt x="258" y="818"/>
                  </a:cubicBezTo>
                  <a:cubicBezTo>
                    <a:pt x="291" y="841"/>
                    <a:pt x="347" y="886"/>
                    <a:pt x="347" y="919"/>
                  </a:cubicBezTo>
                  <a:cubicBezTo>
                    <a:pt x="347" y="953"/>
                    <a:pt x="370" y="986"/>
                    <a:pt x="392" y="1009"/>
                  </a:cubicBezTo>
                  <a:cubicBezTo>
                    <a:pt x="403" y="1020"/>
                    <a:pt x="403" y="1098"/>
                    <a:pt x="403" y="1132"/>
                  </a:cubicBezTo>
                  <a:cubicBezTo>
                    <a:pt x="403" y="1166"/>
                    <a:pt x="403" y="1177"/>
                    <a:pt x="392" y="1188"/>
                  </a:cubicBezTo>
                  <a:cubicBezTo>
                    <a:pt x="381" y="1188"/>
                    <a:pt x="381" y="1211"/>
                    <a:pt x="415" y="1211"/>
                  </a:cubicBezTo>
                  <a:cubicBezTo>
                    <a:pt x="460" y="1199"/>
                    <a:pt x="460" y="1211"/>
                    <a:pt x="471" y="1233"/>
                  </a:cubicBezTo>
                  <a:cubicBezTo>
                    <a:pt x="471" y="1255"/>
                    <a:pt x="516" y="1300"/>
                    <a:pt x="538" y="1311"/>
                  </a:cubicBezTo>
                  <a:cubicBezTo>
                    <a:pt x="560" y="1334"/>
                    <a:pt x="560" y="1367"/>
                    <a:pt x="549" y="1390"/>
                  </a:cubicBezTo>
                  <a:cubicBezTo>
                    <a:pt x="538" y="1401"/>
                    <a:pt x="516" y="1435"/>
                    <a:pt x="538" y="1435"/>
                  </a:cubicBezTo>
                  <a:cubicBezTo>
                    <a:pt x="560" y="1446"/>
                    <a:pt x="572" y="1468"/>
                    <a:pt x="549" y="1479"/>
                  </a:cubicBezTo>
                  <a:cubicBezTo>
                    <a:pt x="527" y="1502"/>
                    <a:pt x="504" y="1535"/>
                    <a:pt x="527" y="1547"/>
                  </a:cubicBezTo>
                  <a:cubicBezTo>
                    <a:pt x="549" y="1558"/>
                    <a:pt x="549" y="1625"/>
                    <a:pt x="572" y="1625"/>
                  </a:cubicBezTo>
                  <a:cubicBezTo>
                    <a:pt x="583" y="1625"/>
                    <a:pt x="572" y="1591"/>
                    <a:pt x="583" y="1591"/>
                  </a:cubicBezTo>
                  <a:cubicBezTo>
                    <a:pt x="594" y="1591"/>
                    <a:pt x="605" y="1625"/>
                    <a:pt x="616" y="1636"/>
                  </a:cubicBezTo>
                  <a:cubicBezTo>
                    <a:pt x="627" y="1636"/>
                    <a:pt x="627" y="1670"/>
                    <a:pt x="627" y="1692"/>
                  </a:cubicBezTo>
                  <a:cubicBezTo>
                    <a:pt x="639" y="1715"/>
                    <a:pt x="639" y="1737"/>
                    <a:pt x="661" y="1748"/>
                  </a:cubicBezTo>
                  <a:cubicBezTo>
                    <a:pt x="672" y="1760"/>
                    <a:pt x="650" y="1827"/>
                    <a:pt x="627" y="1860"/>
                  </a:cubicBezTo>
                  <a:cubicBezTo>
                    <a:pt x="616" y="1883"/>
                    <a:pt x="605" y="1894"/>
                    <a:pt x="605" y="1916"/>
                  </a:cubicBezTo>
                  <a:cubicBezTo>
                    <a:pt x="616" y="1928"/>
                    <a:pt x="605" y="1939"/>
                    <a:pt x="639" y="1939"/>
                  </a:cubicBezTo>
                  <a:cubicBezTo>
                    <a:pt x="672" y="1939"/>
                    <a:pt x="695" y="1950"/>
                    <a:pt x="695" y="1961"/>
                  </a:cubicBezTo>
                  <a:cubicBezTo>
                    <a:pt x="706" y="1984"/>
                    <a:pt x="695" y="2017"/>
                    <a:pt x="706" y="2017"/>
                  </a:cubicBezTo>
                  <a:cubicBezTo>
                    <a:pt x="717" y="2006"/>
                    <a:pt x="729" y="2017"/>
                    <a:pt x="717" y="2028"/>
                  </a:cubicBezTo>
                  <a:cubicBezTo>
                    <a:pt x="695" y="2051"/>
                    <a:pt x="684" y="2084"/>
                    <a:pt x="684" y="2107"/>
                  </a:cubicBezTo>
                  <a:cubicBezTo>
                    <a:pt x="684" y="2129"/>
                    <a:pt x="706" y="2140"/>
                    <a:pt x="729" y="2129"/>
                  </a:cubicBezTo>
                  <a:cubicBezTo>
                    <a:pt x="751" y="2118"/>
                    <a:pt x="762" y="2107"/>
                    <a:pt x="785" y="2129"/>
                  </a:cubicBezTo>
                  <a:cubicBezTo>
                    <a:pt x="796" y="2152"/>
                    <a:pt x="818" y="2197"/>
                    <a:pt x="840" y="2219"/>
                  </a:cubicBezTo>
                  <a:cubicBezTo>
                    <a:pt x="874" y="2242"/>
                    <a:pt x="908" y="2275"/>
                    <a:pt x="941" y="2297"/>
                  </a:cubicBezTo>
                  <a:cubicBezTo>
                    <a:pt x="975" y="2320"/>
                    <a:pt x="975" y="2342"/>
                    <a:pt x="998" y="2353"/>
                  </a:cubicBezTo>
                  <a:cubicBezTo>
                    <a:pt x="1009" y="2376"/>
                    <a:pt x="1020" y="2387"/>
                    <a:pt x="1065" y="2387"/>
                  </a:cubicBezTo>
                  <a:cubicBezTo>
                    <a:pt x="1109" y="2376"/>
                    <a:pt x="1143" y="2387"/>
                    <a:pt x="1154" y="2410"/>
                  </a:cubicBezTo>
                  <a:cubicBezTo>
                    <a:pt x="1154" y="2432"/>
                    <a:pt x="1165" y="2488"/>
                    <a:pt x="1188" y="2510"/>
                  </a:cubicBezTo>
                  <a:cubicBezTo>
                    <a:pt x="1210" y="2533"/>
                    <a:pt x="1267" y="2578"/>
                    <a:pt x="1289" y="2600"/>
                  </a:cubicBezTo>
                  <a:cubicBezTo>
                    <a:pt x="1300" y="2634"/>
                    <a:pt x="1300" y="2656"/>
                    <a:pt x="1300" y="2679"/>
                  </a:cubicBezTo>
                  <a:cubicBezTo>
                    <a:pt x="1311" y="2701"/>
                    <a:pt x="1311" y="2723"/>
                    <a:pt x="1356" y="2723"/>
                  </a:cubicBezTo>
                  <a:cubicBezTo>
                    <a:pt x="1390" y="2735"/>
                    <a:pt x="1401" y="2735"/>
                    <a:pt x="1412" y="2768"/>
                  </a:cubicBezTo>
                  <a:cubicBezTo>
                    <a:pt x="1412" y="2791"/>
                    <a:pt x="1412" y="2835"/>
                    <a:pt x="1434" y="2824"/>
                  </a:cubicBezTo>
                  <a:cubicBezTo>
                    <a:pt x="1457" y="2824"/>
                    <a:pt x="1479" y="2824"/>
                    <a:pt x="1479" y="2858"/>
                  </a:cubicBezTo>
                  <a:cubicBezTo>
                    <a:pt x="1491" y="2903"/>
                    <a:pt x="1479" y="2914"/>
                    <a:pt x="1513" y="2914"/>
                  </a:cubicBezTo>
                  <a:cubicBezTo>
                    <a:pt x="1558" y="2914"/>
                    <a:pt x="1569" y="2936"/>
                    <a:pt x="1569" y="2959"/>
                  </a:cubicBezTo>
                  <a:cubicBezTo>
                    <a:pt x="1580" y="2981"/>
                    <a:pt x="1580" y="3026"/>
                    <a:pt x="1603" y="3048"/>
                  </a:cubicBezTo>
                  <a:cubicBezTo>
                    <a:pt x="1625" y="3059"/>
                    <a:pt x="1614" y="3093"/>
                    <a:pt x="1603" y="3115"/>
                  </a:cubicBezTo>
                  <a:cubicBezTo>
                    <a:pt x="1580" y="3138"/>
                    <a:pt x="1569" y="3149"/>
                    <a:pt x="1569" y="3160"/>
                  </a:cubicBezTo>
                  <a:cubicBezTo>
                    <a:pt x="1569" y="3183"/>
                    <a:pt x="1547" y="3194"/>
                    <a:pt x="1536" y="3205"/>
                  </a:cubicBezTo>
                  <a:cubicBezTo>
                    <a:pt x="1524" y="3205"/>
                    <a:pt x="1524" y="3250"/>
                    <a:pt x="1547" y="3239"/>
                  </a:cubicBezTo>
                  <a:cubicBezTo>
                    <a:pt x="1580" y="3228"/>
                    <a:pt x="1580" y="3239"/>
                    <a:pt x="1580" y="3273"/>
                  </a:cubicBezTo>
                  <a:cubicBezTo>
                    <a:pt x="1580" y="3306"/>
                    <a:pt x="1569" y="3306"/>
                    <a:pt x="1547" y="330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3"/>
            <p:cNvSpPr>
              <a:spLocks noChangeArrowheads="1"/>
            </p:cNvSpPr>
            <p:nvPr/>
          </p:nvSpPr>
          <p:spPr bwMode="auto">
            <a:xfrm>
              <a:off x="4398439" y="1889184"/>
              <a:ext cx="1244318" cy="1538418"/>
            </a:xfrm>
            <a:custGeom>
              <a:avLst/>
              <a:gdLst>
                <a:gd name="T0" fmla="*/ 3284 w 3588"/>
                <a:gd name="T1" fmla="*/ 2667 h 4438"/>
                <a:gd name="T2" fmla="*/ 3553 w 3588"/>
                <a:gd name="T3" fmla="*/ 2006 h 4438"/>
                <a:gd name="T4" fmla="*/ 3306 w 3588"/>
                <a:gd name="T5" fmla="*/ 1860 h 4438"/>
                <a:gd name="T6" fmla="*/ 3082 w 3588"/>
                <a:gd name="T7" fmla="*/ 1737 h 4438"/>
                <a:gd name="T8" fmla="*/ 2825 w 3588"/>
                <a:gd name="T9" fmla="*/ 1490 h 4438"/>
                <a:gd name="T10" fmla="*/ 2724 w 3588"/>
                <a:gd name="T11" fmla="*/ 1143 h 4438"/>
                <a:gd name="T12" fmla="*/ 2600 w 3588"/>
                <a:gd name="T13" fmla="*/ 907 h 4438"/>
                <a:gd name="T14" fmla="*/ 2298 w 3588"/>
                <a:gd name="T15" fmla="*/ 672 h 4438"/>
                <a:gd name="T16" fmla="*/ 2006 w 3588"/>
                <a:gd name="T17" fmla="*/ 358 h 4438"/>
                <a:gd name="T18" fmla="*/ 639 w 3588"/>
                <a:gd name="T19" fmla="*/ 0 h 4438"/>
                <a:gd name="T20" fmla="*/ 236 w 3588"/>
                <a:gd name="T21" fmla="*/ 313 h 4438"/>
                <a:gd name="T22" fmla="*/ 336 w 3588"/>
                <a:gd name="T23" fmla="*/ 807 h 4438"/>
                <a:gd name="T24" fmla="*/ 348 w 3588"/>
                <a:gd name="T25" fmla="*/ 1266 h 4438"/>
                <a:gd name="T26" fmla="*/ 325 w 3588"/>
                <a:gd name="T27" fmla="*/ 1580 h 4438"/>
                <a:gd name="T28" fmla="*/ 269 w 3588"/>
                <a:gd name="T29" fmla="*/ 1714 h 4438"/>
                <a:gd name="T30" fmla="*/ 236 w 3588"/>
                <a:gd name="T31" fmla="*/ 1804 h 4438"/>
                <a:gd name="T32" fmla="*/ 280 w 3588"/>
                <a:gd name="T33" fmla="*/ 2051 h 4438"/>
                <a:gd name="T34" fmla="*/ 370 w 3588"/>
                <a:gd name="T35" fmla="*/ 2431 h 4438"/>
                <a:gd name="T36" fmla="*/ 169 w 3588"/>
                <a:gd name="T37" fmla="*/ 2476 h 4438"/>
                <a:gd name="T38" fmla="*/ 79 w 3588"/>
                <a:gd name="T39" fmla="*/ 2689 h 4438"/>
                <a:gd name="T40" fmla="*/ 169 w 3588"/>
                <a:gd name="T41" fmla="*/ 2824 h 4438"/>
                <a:gd name="T42" fmla="*/ 269 w 3588"/>
                <a:gd name="T43" fmla="*/ 3059 h 4438"/>
                <a:gd name="T44" fmla="*/ 247 w 3588"/>
                <a:gd name="T45" fmla="*/ 3261 h 4438"/>
                <a:gd name="T46" fmla="*/ 314 w 3588"/>
                <a:gd name="T47" fmla="*/ 3362 h 4438"/>
                <a:gd name="T48" fmla="*/ 505 w 3588"/>
                <a:gd name="T49" fmla="*/ 3362 h 4438"/>
                <a:gd name="T50" fmla="*/ 628 w 3588"/>
                <a:gd name="T51" fmla="*/ 3519 h 4438"/>
                <a:gd name="T52" fmla="*/ 628 w 3588"/>
                <a:gd name="T53" fmla="*/ 3631 h 4438"/>
                <a:gd name="T54" fmla="*/ 673 w 3588"/>
                <a:gd name="T55" fmla="*/ 3877 h 4438"/>
                <a:gd name="T56" fmla="*/ 897 w 3588"/>
                <a:gd name="T57" fmla="*/ 3989 h 4438"/>
                <a:gd name="T58" fmla="*/ 987 w 3588"/>
                <a:gd name="T59" fmla="*/ 4023 h 4438"/>
                <a:gd name="T60" fmla="*/ 1043 w 3588"/>
                <a:gd name="T61" fmla="*/ 4079 h 4438"/>
                <a:gd name="T62" fmla="*/ 1155 w 3588"/>
                <a:gd name="T63" fmla="*/ 4213 h 4438"/>
                <a:gd name="T64" fmla="*/ 1233 w 3588"/>
                <a:gd name="T65" fmla="*/ 4370 h 4438"/>
                <a:gd name="T66" fmla="*/ 1323 w 3588"/>
                <a:gd name="T67" fmla="*/ 4404 h 4438"/>
                <a:gd name="T68" fmla="*/ 1525 w 3588"/>
                <a:gd name="T69" fmla="*/ 4359 h 4438"/>
                <a:gd name="T70" fmla="*/ 1580 w 3588"/>
                <a:gd name="T71" fmla="*/ 4124 h 4438"/>
                <a:gd name="T72" fmla="*/ 1704 w 3588"/>
                <a:gd name="T73" fmla="*/ 3866 h 4438"/>
                <a:gd name="T74" fmla="*/ 1771 w 3588"/>
                <a:gd name="T75" fmla="*/ 3653 h 4438"/>
                <a:gd name="T76" fmla="*/ 1928 w 3588"/>
                <a:gd name="T77" fmla="*/ 3575 h 4438"/>
                <a:gd name="T78" fmla="*/ 2096 w 3588"/>
                <a:gd name="T79" fmla="*/ 3687 h 4438"/>
                <a:gd name="T80" fmla="*/ 2197 w 3588"/>
                <a:gd name="T81" fmla="*/ 3731 h 4438"/>
                <a:gd name="T82" fmla="*/ 2432 w 3588"/>
                <a:gd name="T83" fmla="*/ 3877 h 4438"/>
                <a:gd name="T84" fmla="*/ 2511 w 3588"/>
                <a:gd name="T85" fmla="*/ 3832 h 4438"/>
                <a:gd name="T86" fmla="*/ 2746 w 3588"/>
                <a:gd name="T87" fmla="*/ 3888 h 4438"/>
                <a:gd name="T88" fmla="*/ 2858 w 3588"/>
                <a:gd name="T89" fmla="*/ 3776 h 4438"/>
                <a:gd name="T90" fmla="*/ 3351 w 3588"/>
                <a:gd name="T91" fmla="*/ 3642 h 4438"/>
                <a:gd name="T92" fmla="*/ 3284 w 3588"/>
                <a:gd name="T93" fmla="*/ 2667 h 4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88" h="4438">
                  <a:moveTo>
                    <a:pt x="3284" y="2667"/>
                  </a:moveTo>
                  <a:lnTo>
                    <a:pt x="3284" y="2667"/>
                  </a:lnTo>
                  <a:cubicBezTo>
                    <a:pt x="3587" y="2051"/>
                    <a:pt x="3587" y="2051"/>
                    <a:pt x="3587" y="2051"/>
                  </a:cubicBezTo>
                  <a:cubicBezTo>
                    <a:pt x="3587" y="2051"/>
                    <a:pt x="3575" y="2039"/>
                    <a:pt x="3553" y="2006"/>
                  </a:cubicBezTo>
                  <a:cubicBezTo>
                    <a:pt x="3531" y="1983"/>
                    <a:pt x="3474" y="1950"/>
                    <a:pt x="3418" y="1938"/>
                  </a:cubicBezTo>
                  <a:cubicBezTo>
                    <a:pt x="3362" y="1938"/>
                    <a:pt x="3329" y="1905"/>
                    <a:pt x="3306" y="1860"/>
                  </a:cubicBezTo>
                  <a:cubicBezTo>
                    <a:pt x="3284" y="1815"/>
                    <a:pt x="3262" y="1826"/>
                    <a:pt x="3228" y="1826"/>
                  </a:cubicBezTo>
                  <a:cubicBezTo>
                    <a:pt x="3183" y="1826"/>
                    <a:pt x="3127" y="1793"/>
                    <a:pt x="3082" y="1737"/>
                  </a:cubicBezTo>
                  <a:cubicBezTo>
                    <a:pt x="3038" y="1692"/>
                    <a:pt x="2993" y="1692"/>
                    <a:pt x="2959" y="1669"/>
                  </a:cubicBezTo>
                  <a:cubicBezTo>
                    <a:pt x="2936" y="1647"/>
                    <a:pt x="2858" y="1535"/>
                    <a:pt x="2825" y="1490"/>
                  </a:cubicBezTo>
                  <a:cubicBezTo>
                    <a:pt x="2791" y="1445"/>
                    <a:pt x="2802" y="1400"/>
                    <a:pt x="2791" y="1289"/>
                  </a:cubicBezTo>
                  <a:cubicBezTo>
                    <a:pt x="2791" y="1176"/>
                    <a:pt x="2757" y="1143"/>
                    <a:pt x="2724" y="1143"/>
                  </a:cubicBezTo>
                  <a:cubicBezTo>
                    <a:pt x="2701" y="1143"/>
                    <a:pt x="2679" y="1075"/>
                    <a:pt x="2667" y="1020"/>
                  </a:cubicBezTo>
                  <a:cubicBezTo>
                    <a:pt x="2667" y="963"/>
                    <a:pt x="2623" y="919"/>
                    <a:pt x="2600" y="907"/>
                  </a:cubicBezTo>
                  <a:cubicBezTo>
                    <a:pt x="2567" y="896"/>
                    <a:pt x="2500" y="739"/>
                    <a:pt x="2455" y="728"/>
                  </a:cubicBezTo>
                  <a:cubicBezTo>
                    <a:pt x="2410" y="728"/>
                    <a:pt x="2343" y="695"/>
                    <a:pt x="2298" y="672"/>
                  </a:cubicBezTo>
                  <a:cubicBezTo>
                    <a:pt x="2253" y="638"/>
                    <a:pt x="2208" y="549"/>
                    <a:pt x="2174" y="515"/>
                  </a:cubicBezTo>
                  <a:cubicBezTo>
                    <a:pt x="2130" y="493"/>
                    <a:pt x="2074" y="493"/>
                    <a:pt x="2006" y="358"/>
                  </a:cubicBezTo>
                  <a:cubicBezTo>
                    <a:pt x="1928" y="235"/>
                    <a:pt x="1670" y="44"/>
                    <a:pt x="1670" y="44"/>
                  </a:cubicBezTo>
                  <a:cubicBezTo>
                    <a:pt x="639" y="0"/>
                    <a:pt x="639" y="0"/>
                    <a:pt x="639" y="0"/>
                  </a:cubicBezTo>
                  <a:cubicBezTo>
                    <a:pt x="605" y="313"/>
                    <a:pt x="605" y="313"/>
                    <a:pt x="605" y="313"/>
                  </a:cubicBezTo>
                  <a:cubicBezTo>
                    <a:pt x="236" y="313"/>
                    <a:pt x="236" y="313"/>
                    <a:pt x="236" y="313"/>
                  </a:cubicBezTo>
                  <a:cubicBezTo>
                    <a:pt x="236" y="773"/>
                    <a:pt x="236" y="773"/>
                    <a:pt x="236" y="773"/>
                  </a:cubicBezTo>
                  <a:cubicBezTo>
                    <a:pt x="236" y="773"/>
                    <a:pt x="336" y="773"/>
                    <a:pt x="336" y="807"/>
                  </a:cubicBezTo>
                  <a:cubicBezTo>
                    <a:pt x="336" y="840"/>
                    <a:pt x="325" y="885"/>
                    <a:pt x="348" y="896"/>
                  </a:cubicBezTo>
                  <a:cubicBezTo>
                    <a:pt x="381" y="919"/>
                    <a:pt x="381" y="1199"/>
                    <a:pt x="348" y="1266"/>
                  </a:cubicBezTo>
                  <a:cubicBezTo>
                    <a:pt x="325" y="1333"/>
                    <a:pt x="348" y="1367"/>
                    <a:pt x="359" y="1400"/>
                  </a:cubicBezTo>
                  <a:cubicBezTo>
                    <a:pt x="370" y="1434"/>
                    <a:pt x="336" y="1546"/>
                    <a:pt x="325" y="1580"/>
                  </a:cubicBezTo>
                  <a:cubicBezTo>
                    <a:pt x="303" y="1625"/>
                    <a:pt x="314" y="1658"/>
                    <a:pt x="280" y="1658"/>
                  </a:cubicBezTo>
                  <a:cubicBezTo>
                    <a:pt x="258" y="1669"/>
                    <a:pt x="258" y="1692"/>
                    <a:pt x="269" y="1714"/>
                  </a:cubicBezTo>
                  <a:cubicBezTo>
                    <a:pt x="280" y="1737"/>
                    <a:pt x="269" y="1748"/>
                    <a:pt x="247" y="1759"/>
                  </a:cubicBezTo>
                  <a:cubicBezTo>
                    <a:pt x="236" y="1759"/>
                    <a:pt x="236" y="1782"/>
                    <a:pt x="236" y="1804"/>
                  </a:cubicBezTo>
                  <a:cubicBezTo>
                    <a:pt x="236" y="1882"/>
                    <a:pt x="247" y="1995"/>
                    <a:pt x="247" y="2006"/>
                  </a:cubicBezTo>
                  <a:cubicBezTo>
                    <a:pt x="247" y="2017"/>
                    <a:pt x="247" y="2039"/>
                    <a:pt x="280" y="2051"/>
                  </a:cubicBezTo>
                  <a:cubicBezTo>
                    <a:pt x="314" y="2051"/>
                    <a:pt x="314" y="2129"/>
                    <a:pt x="336" y="2140"/>
                  </a:cubicBezTo>
                  <a:cubicBezTo>
                    <a:pt x="370" y="2151"/>
                    <a:pt x="393" y="2409"/>
                    <a:pt x="370" y="2431"/>
                  </a:cubicBezTo>
                  <a:cubicBezTo>
                    <a:pt x="348" y="2443"/>
                    <a:pt x="269" y="2431"/>
                    <a:pt x="247" y="2443"/>
                  </a:cubicBezTo>
                  <a:cubicBezTo>
                    <a:pt x="236" y="2454"/>
                    <a:pt x="225" y="2488"/>
                    <a:pt x="169" y="2476"/>
                  </a:cubicBezTo>
                  <a:cubicBezTo>
                    <a:pt x="112" y="2465"/>
                    <a:pt x="23" y="2454"/>
                    <a:pt x="11" y="2476"/>
                  </a:cubicBezTo>
                  <a:cubicBezTo>
                    <a:pt x="0" y="2499"/>
                    <a:pt x="56" y="2667"/>
                    <a:pt x="79" y="2689"/>
                  </a:cubicBezTo>
                  <a:cubicBezTo>
                    <a:pt x="90" y="2723"/>
                    <a:pt x="124" y="2712"/>
                    <a:pt x="124" y="2757"/>
                  </a:cubicBezTo>
                  <a:cubicBezTo>
                    <a:pt x="124" y="2801"/>
                    <a:pt x="112" y="2813"/>
                    <a:pt x="169" y="2824"/>
                  </a:cubicBezTo>
                  <a:cubicBezTo>
                    <a:pt x="213" y="2835"/>
                    <a:pt x="213" y="2846"/>
                    <a:pt x="213" y="2902"/>
                  </a:cubicBezTo>
                  <a:cubicBezTo>
                    <a:pt x="213" y="2947"/>
                    <a:pt x="269" y="3026"/>
                    <a:pt x="269" y="3059"/>
                  </a:cubicBezTo>
                  <a:cubicBezTo>
                    <a:pt x="269" y="3104"/>
                    <a:pt x="258" y="3137"/>
                    <a:pt x="247" y="3182"/>
                  </a:cubicBezTo>
                  <a:cubicBezTo>
                    <a:pt x="225" y="3216"/>
                    <a:pt x="225" y="3250"/>
                    <a:pt x="247" y="3261"/>
                  </a:cubicBezTo>
                  <a:cubicBezTo>
                    <a:pt x="269" y="3272"/>
                    <a:pt x="258" y="3317"/>
                    <a:pt x="292" y="3339"/>
                  </a:cubicBezTo>
                  <a:cubicBezTo>
                    <a:pt x="314" y="3351"/>
                    <a:pt x="314" y="3362"/>
                    <a:pt x="314" y="3362"/>
                  </a:cubicBezTo>
                  <a:cubicBezTo>
                    <a:pt x="336" y="3362"/>
                    <a:pt x="336" y="3362"/>
                    <a:pt x="336" y="3362"/>
                  </a:cubicBezTo>
                  <a:cubicBezTo>
                    <a:pt x="505" y="3362"/>
                    <a:pt x="505" y="3362"/>
                    <a:pt x="505" y="3362"/>
                  </a:cubicBezTo>
                  <a:cubicBezTo>
                    <a:pt x="505" y="3362"/>
                    <a:pt x="493" y="3440"/>
                    <a:pt x="538" y="3440"/>
                  </a:cubicBezTo>
                  <a:cubicBezTo>
                    <a:pt x="583" y="3451"/>
                    <a:pt x="628" y="3485"/>
                    <a:pt x="628" y="3519"/>
                  </a:cubicBezTo>
                  <a:cubicBezTo>
                    <a:pt x="628" y="3552"/>
                    <a:pt x="616" y="3597"/>
                    <a:pt x="605" y="3608"/>
                  </a:cubicBezTo>
                  <a:cubicBezTo>
                    <a:pt x="594" y="3619"/>
                    <a:pt x="605" y="3631"/>
                    <a:pt x="628" y="3631"/>
                  </a:cubicBezTo>
                  <a:cubicBezTo>
                    <a:pt x="650" y="3642"/>
                    <a:pt x="639" y="3709"/>
                    <a:pt x="639" y="3754"/>
                  </a:cubicBezTo>
                  <a:cubicBezTo>
                    <a:pt x="639" y="3810"/>
                    <a:pt x="639" y="3844"/>
                    <a:pt x="673" y="3877"/>
                  </a:cubicBezTo>
                  <a:cubicBezTo>
                    <a:pt x="706" y="3911"/>
                    <a:pt x="751" y="3978"/>
                    <a:pt x="751" y="3978"/>
                  </a:cubicBezTo>
                  <a:cubicBezTo>
                    <a:pt x="751" y="3978"/>
                    <a:pt x="886" y="3978"/>
                    <a:pt x="897" y="3989"/>
                  </a:cubicBezTo>
                  <a:cubicBezTo>
                    <a:pt x="908" y="4000"/>
                    <a:pt x="919" y="3989"/>
                    <a:pt x="953" y="3989"/>
                  </a:cubicBezTo>
                  <a:cubicBezTo>
                    <a:pt x="975" y="3989"/>
                    <a:pt x="975" y="4000"/>
                    <a:pt x="987" y="4023"/>
                  </a:cubicBezTo>
                  <a:cubicBezTo>
                    <a:pt x="987" y="4045"/>
                    <a:pt x="998" y="4045"/>
                    <a:pt x="1020" y="4034"/>
                  </a:cubicBezTo>
                  <a:cubicBezTo>
                    <a:pt x="1043" y="4034"/>
                    <a:pt x="1043" y="4034"/>
                    <a:pt x="1043" y="4079"/>
                  </a:cubicBezTo>
                  <a:cubicBezTo>
                    <a:pt x="1054" y="4124"/>
                    <a:pt x="1076" y="4191"/>
                    <a:pt x="1110" y="4191"/>
                  </a:cubicBezTo>
                  <a:cubicBezTo>
                    <a:pt x="1143" y="4202"/>
                    <a:pt x="1143" y="4191"/>
                    <a:pt x="1155" y="4213"/>
                  </a:cubicBezTo>
                  <a:cubicBezTo>
                    <a:pt x="1177" y="4236"/>
                    <a:pt x="1211" y="4258"/>
                    <a:pt x="1222" y="4303"/>
                  </a:cubicBezTo>
                  <a:cubicBezTo>
                    <a:pt x="1233" y="4348"/>
                    <a:pt x="1233" y="4370"/>
                    <a:pt x="1233" y="4370"/>
                  </a:cubicBezTo>
                  <a:cubicBezTo>
                    <a:pt x="1233" y="4370"/>
                    <a:pt x="1233" y="4370"/>
                    <a:pt x="1222" y="4370"/>
                  </a:cubicBezTo>
                  <a:cubicBezTo>
                    <a:pt x="1222" y="4370"/>
                    <a:pt x="1289" y="4393"/>
                    <a:pt x="1323" y="4404"/>
                  </a:cubicBezTo>
                  <a:cubicBezTo>
                    <a:pt x="1345" y="4415"/>
                    <a:pt x="1412" y="4437"/>
                    <a:pt x="1412" y="4437"/>
                  </a:cubicBezTo>
                  <a:cubicBezTo>
                    <a:pt x="1424" y="4437"/>
                    <a:pt x="1502" y="4370"/>
                    <a:pt x="1525" y="4359"/>
                  </a:cubicBezTo>
                  <a:cubicBezTo>
                    <a:pt x="1547" y="4348"/>
                    <a:pt x="1547" y="4269"/>
                    <a:pt x="1547" y="4213"/>
                  </a:cubicBezTo>
                  <a:cubicBezTo>
                    <a:pt x="1547" y="4157"/>
                    <a:pt x="1558" y="4124"/>
                    <a:pt x="1580" y="4124"/>
                  </a:cubicBezTo>
                  <a:cubicBezTo>
                    <a:pt x="1603" y="4113"/>
                    <a:pt x="1603" y="4090"/>
                    <a:pt x="1614" y="4023"/>
                  </a:cubicBezTo>
                  <a:cubicBezTo>
                    <a:pt x="1614" y="3955"/>
                    <a:pt x="1670" y="3877"/>
                    <a:pt x="1704" y="3866"/>
                  </a:cubicBezTo>
                  <a:cubicBezTo>
                    <a:pt x="1726" y="3844"/>
                    <a:pt x="1749" y="3788"/>
                    <a:pt x="1738" y="3743"/>
                  </a:cubicBezTo>
                  <a:cubicBezTo>
                    <a:pt x="1726" y="3698"/>
                    <a:pt x="1738" y="3675"/>
                    <a:pt x="1771" y="3653"/>
                  </a:cubicBezTo>
                  <a:cubicBezTo>
                    <a:pt x="1805" y="3631"/>
                    <a:pt x="1838" y="3608"/>
                    <a:pt x="1861" y="3575"/>
                  </a:cubicBezTo>
                  <a:cubicBezTo>
                    <a:pt x="1883" y="3530"/>
                    <a:pt x="1917" y="3552"/>
                    <a:pt x="1928" y="3575"/>
                  </a:cubicBezTo>
                  <a:cubicBezTo>
                    <a:pt x="1928" y="3597"/>
                    <a:pt x="1950" y="3608"/>
                    <a:pt x="1984" y="3597"/>
                  </a:cubicBezTo>
                  <a:cubicBezTo>
                    <a:pt x="2029" y="3597"/>
                    <a:pt x="2074" y="3664"/>
                    <a:pt x="2096" y="3687"/>
                  </a:cubicBezTo>
                  <a:cubicBezTo>
                    <a:pt x="2107" y="3720"/>
                    <a:pt x="2152" y="3698"/>
                    <a:pt x="2163" y="3687"/>
                  </a:cubicBezTo>
                  <a:cubicBezTo>
                    <a:pt x="2186" y="3675"/>
                    <a:pt x="2186" y="3720"/>
                    <a:pt x="2197" y="3731"/>
                  </a:cubicBezTo>
                  <a:cubicBezTo>
                    <a:pt x="2197" y="3754"/>
                    <a:pt x="2242" y="3776"/>
                    <a:pt x="2298" y="3788"/>
                  </a:cubicBezTo>
                  <a:cubicBezTo>
                    <a:pt x="2354" y="3810"/>
                    <a:pt x="2410" y="3877"/>
                    <a:pt x="2432" y="3877"/>
                  </a:cubicBezTo>
                  <a:cubicBezTo>
                    <a:pt x="2455" y="3877"/>
                    <a:pt x="2443" y="3810"/>
                    <a:pt x="2455" y="3799"/>
                  </a:cubicBezTo>
                  <a:cubicBezTo>
                    <a:pt x="2466" y="3776"/>
                    <a:pt x="2488" y="3810"/>
                    <a:pt x="2511" y="3832"/>
                  </a:cubicBezTo>
                  <a:cubicBezTo>
                    <a:pt x="2544" y="3844"/>
                    <a:pt x="2589" y="3788"/>
                    <a:pt x="2634" y="3776"/>
                  </a:cubicBezTo>
                  <a:cubicBezTo>
                    <a:pt x="2690" y="3776"/>
                    <a:pt x="2724" y="3844"/>
                    <a:pt x="2746" y="3888"/>
                  </a:cubicBezTo>
                  <a:cubicBezTo>
                    <a:pt x="2780" y="3922"/>
                    <a:pt x="2858" y="3900"/>
                    <a:pt x="2847" y="3855"/>
                  </a:cubicBezTo>
                  <a:cubicBezTo>
                    <a:pt x="2836" y="3821"/>
                    <a:pt x="2858" y="3776"/>
                    <a:pt x="2858" y="3776"/>
                  </a:cubicBezTo>
                  <a:cubicBezTo>
                    <a:pt x="3049" y="3619"/>
                    <a:pt x="3049" y="3619"/>
                    <a:pt x="3049" y="3619"/>
                  </a:cubicBezTo>
                  <a:cubicBezTo>
                    <a:pt x="3351" y="3642"/>
                    <a:pt x="3351" y="3642"/>
                    <a:pt x="3351" y="3642"/>
                  </a:cubicBezTo>
                  <a:cubicBezTo>
                    <a:pt x="3228" y="2768"/>
                    <a:pt x="3228" y="2768"/>
                    <a:pt x="3228" y="2768"/>
                  </a:cubicBezTo>
                  <a:lnTo>
                    <a:pt x="3284" y="2667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4"/>
            <p:cNvSpPr>
              <a:spLocks noChangeArrowheads="1"/>
            </p:cNvSpPr>
            <p:nvPr/>
          </p:nvSpPr>
          <p:spPr bwMode="auto">
            <a:xfrm>
              <a:off x="5517407" y="2386188"/>
              <a:ext cx="874385" cy="1298328"/>
            </a:xfrm>
            <a:custGeom>
              <a:avLst/>
              <a:gdLst>
                <a:gd name="T0" fmla="*/ 2498 w 2521"/>
                <a:gd name="T1" fmla="*/ 1423 h 3744"/>
                <a:gd name="T2" fmla="*/ 2386 w 2521"/>
                <a:gd name="T3" fmla="*/ 1222 h 3744"/>
                <a:gd name="T4" fmla="*/ 2072 w 2521"/>
                <a:gd name="T5" fmla="*/ 751 h 3744"/>
                <a:gd name="T6" fmla="*/ 1960 w 2521"/>
                <a:gd name="T7" fmla="*/ 482 h 3744"/>
                <a:gd name="T8" fmla="*/ 1747 w 2521"/>
                <a:gd name="T9" fmla="*/ 314 h 3744"/>
                <a:gd name="T10" fmla="*/ 1580 w 2521"/>
                <a:gd name="T11" fmla="*/ 325 h 3744"/>
                <a:gd name="T12" fmla="*/ 1580 w 2521"/>
                <a:gd name="T13" fmla="*/ 202 h 3744"/>
                <a:gd name="T14" fmla="*/ 1659 w 2521"/>
                <a:gd name="T15" fmla="*/ 224 h 3744"/>
                <a:gd name="T16" fmla="*/ 1546 w 2521"/>
                <a:gd name="T17" fmla="*/ 90 h 3744"/>
                <a:gd name="T18" fmla="*/ 1277 w 2521"/>
                <a:gd name="T19" fmla="*/ 45 h 3744"/>
                <a:gd name="T20" fmla="*/ 941 w 2521"/>
                <a:gd name="T21" fmla="*/ 45 h 3744"/>
                <a:gd name="T22" fmla="*/ 751 w 2521"/>
                <a:gd name="T23" fmla="*/ 146 h 3744"/>
                <a:gd name="T24" fmla="*/ 650 w 2521"/>
                <a:gd name="T25" fmla="*/ 303 h 3744"/>
                <a:gd name="T26" fmla="*/ 572 w 2521"/>
                <a:gd name="T27" fmla="*/ 516 h 3744"/>
                <a:gd name="T28" fmla="*/ 359 w 2521"/>
                <a:gd name="T29" fmla="*/ 617 h 3744"/>
                <a:gd name="T30" fmla="*/ 0 w 2521"/>
                <a:gd name="T31" fmla="*/ 1334 h 3744"/>
                <a:gd name="T32" fmla="*/ 325 w 2521"/>
                <a:gd name="T33" fmla="*/ 2309 h 3744"/>
                <a:gd name="T34" fmla="*/ 359 w 2521"/>
                <a:gd name="T35" fmla="*/ 2578 h 3744"/>
                <a:gd name="T36" fmla="*/ 336 w 2521"/>
                <a:gd name="T37" fmla="*/ 2757 h 3744"/>
                <a:gd name="T38" fmla="*/ 325 w 2521"/>
                <a:gd name="T39" fmla="*/ 2992 h 3744"/>
                <a:gd name="T40" fmla="*/ 303 w 2521"/>
                <a:gd name="T41" fmla="*/ 3127 h 3744"/>
                <a:gd name="T42" fmla="*/ 269 w 2521"/>
                <a:gd name="T43" fmla="*/ 3284 h 3744"/>
                <a:gd name="T44" fmla="*/ 392 w 2521"/>
                <a:gd name="T45" fmla="*/ 3474 h 3744"/>
                <a:gd name="T46" fmla="*/ 650 w 2521"/>
                <a:gd name="T47" fmla="*/ 3609 h 3744"/>
                <a:gd name="T48" fmla="*/ 807 w 2521"/>
                <a:gd name="T49" fmla="*/ 3373 h 3744"/>
                <a:gd name="T50" fmla="*/ 941 w 2521"/>
                <a:gd name="T51" fmla="*/ 3351 h 3744"/>
                <a:gd name="T52" fmla="*/ 1311 w 2521"/>
                <a:gd name="T53" fmla="*/ 3418 h 3744"/>
                <a:gd name="T54" fmla="*/ 1457 w 2521"/>
                <a:gd name="T55" fmla="*/ 3497 h 3744"/>
                <a:gd name="T56" fmla="*/ 1535 w 2521"/>
                <a:gd name="T57" fmla="*/ 3575 h 3744"/>
                <a:gd name="T58" fmla="*/ 1636 w 2521"/>
                <a:gd name="T59" fmla="*/ 3597 h 3744"/>
                <a:gd name="T60" fmla="*/ 1758 w 2521"/>
                <a:gd name="T61" fmla="*/ 3654 h 3744"/>
                <a:gd name="T62" fmla="*/ 1882 w 2521"/>
                <a:gd name="T63" fmla="*/ 3732 h 3744"/>
                <a:gd name="T64" fmla="*/ 1982 w 2521"/>
                <a:gd name="T65" fmla="*/ 3743 h 3744"/>
                <a:gd name="T66" fmla="*/ 1982 w 2521"/>
                <a:gd name="T67" fmla="*/ 3564 h 3744"/>
                <a:gd name="T68" fmla="*/ 1971 w 2521"/>
                <a:gd name="T69" fmla="*/ 3441 h 3744"/>
                <a:gd name="T70" fmla="*/ 2038 w 2521"/>
                <a:gd name="T71" fmla="*/ 3261 h 3744"/>
                <a:gd name="T72" fmla="*/ 2151 w 2521"/>
                <a:gd name="T73" fmla="*/ 3272 h 3744"/>
                <a:gd name="T74" fmla="*/ 2319 w 2521"/>
                <a:gd name="T75" fmla="*/ 3272 h 3744"/>
                <a:gd name="T76" fmla="*/ 2296 w 2521"/>
                <a:gd name="T77" fmla="*/ 3194 h 3744"/>
                <a:gd name="T78" fmla="*/ 2173 w 2521"/>
                <a:gd name="T79" fmla="*/ 3161 h 3744"/>
                <a:gd name="T80" fmla="*/ 2072 w 2521"/>
                <a:gd name="T81" fmla="*/ 3015 h 3744"/>
                <a:gd name="T82" fmla="*/ 1994 w 2521"/>
                <a:gd name="T83" fmla="*/ 2959 h 3744"/>
                <a:gd name="T84" fmla="*/ 1915 w 2521"/>
                <a:gd name="T85" fmla="*/ 2858 h 3744"/>
                <a:gd name="T86" fmla="*/ 1915 w 2521"/>
                <a:gd name="T87" fmla="*/ 2746 h 3744"/>
                <a:gd name="T88" fmla="*/ 1893 w 2521"/>
                <a:gd name="T89" fmla="*/ 2679 h 3744"/>
                <a:gd name="T90" fmla="*/ 1859 w 2521"/>
                <a:gd name="T91" fmla="*/ 2331 h 3744"/>
                <a:gd name="T92" fmla="*/ 2016 w 2521"/>
                <a:gd name="T93" fmla="*/ 2241 h 3744"/>
                <a:gd name="T94" fmla="*/ 2072 w 2521"/>
                <a:gd name="T95" fmla="*/ 2197 h 3744"/>
                <a:gd name="T96" fmla="*/ 2128 w 2521"/>
                <a:gd name="T97" fmla="*/ 1984 h 3744"/>
                <a:gd name="T98" fmla="*/ 1994 w 2521"/>
                <a:gd name="T99" fmla="*/ 1972 h 3744"/>
                <a:gd name="T100" fmla="*/ 1960 w 2521"/>
                <a:gd name="T101" fmla="*/ 1928 h 3744"/>
                <a:gd name="T102" fmla="*/ 2038 w 2521"/>
                <a:gd name="T103" fmla="*/ 1827 h 3744"/>
                <a:gd name="T104" fmla="*/ 2196 w 2521"/>
                <a:gd name="T105" fmla="*/ 1703 h 3744"/>
                <a:gd name="T106" fmla="*/ 2341 w 2521"/>
                <a:gd name="T107" fmla="*/ 1423 h 3744"/>
                <a:gd name="T108" fmla="*/ 2442 w 2521"/>
                <a:gd name="T109" fmla="*/ 1524 h 3744"/>
                <a:gd name="T110" fmla="*/ 2520 w 2521"/>
                <a:gd name="T111" fmla="*/ 1479 h 3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21" h="3744">
                  <a:moveTo>
                    <a:pt x="2498" y="1423"/>
                  </a:moveTo>
                  <a:lnTo>
                    <a:pt x="2498" y="1423"/>
                  </a:lnTo>
                  <a:cubicBezTo>
                    <a:pt x="2487" y="1390"/>
                    <a:pt x="2509" y="1379"/>
                    <a:pt x="2487" y="1356"/>
                  </a:cubicBezTo>
                  <a:cubicBezTo>
                    <a:pt x="2476" y="1334"/>
                    <a:pt x="2453" y="1311"/>
                    <a:pt x="2386" y="1222"/>
                  </a:cubicBezTo>
                  <a:cubicBezTo>
                    <a:pt x="2319" y="1143"/>
                    <a:pt x="2240" y="1020"/>
                    <a:pt x="2218" y="964"/>
                  </a:cubicBezTo>
                  <a:cubicBezTo>
                    <a:pt x="2207" y="908"/>
                    <a:pt x="2128" y="807"/>
                    <a:pt x="2072" y="751"/>
                  </a:cubicBezTo>
                  <a:cubicBezTo>
                    <a:pt x="2027" y="695"/>
                    <a:pt x="2005" y="617"/>
                    <a:pt x="1994" y="583"/>
                  </a:cubicBezTo>
                  <a:cubicBezTo>
                    <a:pt x="1994" y="538"/>
                    <a:pt x="1994" y="504"/>
                    <a:pt x="1960" y="482"/>
                  </a:cubicBezTo>
                  <a:cubicBezTo>
                    <a:pt x="1927" y="459"/>
                    <a:pt x="1882" y="404"/>
                    <a:pt x="1848" y="359"/>
                  </a:cubicBezTo>
                  <a:cubicBezTo>
                    <a:pt x="1814" y="303"/>
                    <a:pt x="1769" y="303"/>
                    <a:pt x="1747" y="314"/>
                  </a:cubicBezTo>
                  <a:cubicBezTo>
                    <a:pt x="1726" y="325"/>
                    <a:pt x="1703" y="336"/>
                    <a:pt x="1681" y="325"/>
                  </a:cubicBezTo>
                  <a:cubicBezTo>
                    <a:pt x="1659" y="303"/>
                    <a:pt x="1614" y="314"/>
                    <a:pt x="1580" y="325"/>
                  </a:cubicBezTo>
                  <a:cubicBezTo>
                    <a:pt x="1546" y="325"/>
                    <a:pt x="1558" y="258"/>
                    <a:pt x="1580" y="247"/>
                  </a:cubicBezTo>
                  <a:cubicBezTo>
                    <a:pt x="1603" y="235"/>
                    <a:pt x="1614" y="224"/>
                    <a:pt x="1580" y="202"/>
                  </a:cubicBezTo>
                  <a:cubicBezTo>
                    <a:pt x="1546" y="191"/>
                    <a:pt x="1569" y="146"/>
                    <a:pt x="1591" y="146"/>
                  </a:cubicBezTo>
                  <a:cubicBezTo>
                    <a:pt x="1614" y="157"/>
                    <a:pt x="1625" y="213"/>
                    <a:pt x="1659" y="224"/>
                  </a:cubicBezTo>
                  <a:cubicBezTo>
                    <a:pt x="1692" y="247"/>
                    <a:pt x="1681" y="224"/>
                    <a:pt x="1659" y="191"/>
                  </a:cubicBezTo>
                  <a:cubicBezTo>
                    <a:pt x="1636" y="157"/>
                    <a:pt x="1603" y="112"/>
                    <a:pt x="1546" y="90"/>
                  </a:cubicBezTo>
                  <a:cubicBezTo>
                    <a:pt x="1502" y="68"/>
                    <a:pt x="1401" y="68"/>
                    <a:pt x="1367" y="79"/>
                  </a:cubicBezTo>
                  <a:cubicBezTo>
                    <a:pt x="1322" y="79"/>
                    <a:pt x="1300" y="45"/>
                    <a:pt x="1277" y="45"/>
                  </a:cubicBezTo>
                  <a:cubicBezTo>
                    <a:pt x="1255" y="34"/>
                    <a:pt x="1031" y="56"/>
                    <a:pt x="1008" y="23"/>
                  </a:cubicBezTo>
                  <a:cubicBezTo>
                    <a:pt x="997" y="0"/>
                    <a:pt x="941" y="23"/>
                    <a:pt x="941" y="45"/>
                  </a:cubicBezTo>
                  <a:cubicBezTo>
                    <a:pt x="930" y="68"/>
                    <a:pt x="852" y="112"/>
                    <a:pt x="818" y="112"/>
                  </a:cubicBezTo>
                  <a:cubicBezTo>
                    <a:pt x="784" y="112"/>
                    <a:pt x="751" y="123"/>
                    <a:pt x="751" y="146"/>
                  </a:cubicBezTo>
                  <a:cubicBezTo>
                    <a:pt x="751" y="179"/>
                    <a:pt x="739" y="213"/>
                    <a:pt x="717" y="213"/>
                  </a:cubicBezTo>
                  <a:cubicBezTo>
                    <a:pt x="695" y="224"/>
                    <a:pt x="661" y="247"/>
                    <a:pt x="650" y="303"/>
                  </a:cubicBezTo>
                  <a:cubicBezTo>
                    <a:pt x="628" y="359"/>
                    <a:pt x="661" y="504"/>
                    <a:pt x="661" y="504"/>
                  </a:cubicBezTo>
                  <a:cubicBezTo>
                    <a:pt x="661" y="504"/>
                    <a:pt x="628" y="493"/>
                    <a:pt x="572" y="516"/>
                  </a:cubicBezTo>
                  <a:cubicBezTo>
                    <a:pt x="504" y="538"/>
                    <a:pt x="527" y="583"/>
                    <a:pt x="493" y="617"/>
                  </a:cubicBezTo>
                  <a:cubicBezTo>
                    <a:pt x="470" y="639"/>
                    <a:pt x="359" y="617"/>
                    <a:pt x="359" y="617"/>
                  </a:cubicBezTo>
                  <a:cubicBezTo>
                    <a:pt x="56" y="1233"/>
                    <a:pt x="56" y="1233"/>
                    <a:pt x="56" y="1233"/>
                  </a:cubicBezTo>
                  <a:cubicBezTo>
                    <a:pt x="0" y="1334"/>
                    <a:pt x="0" y="1334"/>
                    <a:pt x="0" y="1334"/>
                  </a:cubicBezTo>
                  <a:cubicBezTo>
                    <a:pt x="123" y="2208"/>
                    <a:pt x="123" y="2208"/>
                    <a:pt x="123" y="2208"/>
                  </a:cubicBezTo>
                  <a:cubicBezTo>
                    <a:pt x="325" y="2309"/>
                    <a:pt x="325" y="2309"/>
                    <a:pt x="325" y="2309"/>
                  </a:cubicBezTo>
                  <a:cubicBezTo>
                    <a:pt x="415" y="2521"/>
                    <a:pt x="415" y="2521"/>
                    <a:pt x="415" y="2521"/>
                  </a:cubicBezTo>
                  <a:cubicBezTo>
                    <a:pt x="359" y="2578"/>
                    <a:pt x="359" y="2578"/>
                    <a:pt x="359" y="2578"/>
                  </a:cubicBezTo>
                  <a:cubicBezTo>
                    <a:pt x="359" y="2578"/>
                    <a:pt x="370" y="2645"/>
                    <a:pt x="347" y="2667"/>
                  </a:cubicBezTo>
                  <a:cubicBezTo>
                    <a:pt x="325" y="2690"/>
                    <a:pt x="314" y="2723"/>
                    <a:pt x="336" y="2757"/>
                  </a:cubicBezTo>
                  <a:cubicBezTo>
                    <a:pt x="347" y="2779"/>
                    <a:pt x="370" y="2813"/>
                    <a:pt x="370" y="2892"/>
                  </a:cubicBezTo>
                  <a:cubicBezTo>
                    <a:pt x="359" y="2959"/>
                    <a:pt x="359" y="2970"/>
                    <a:pt x="325" y="2992"/>
                  </a:cubicBezTo>
                  <a:cubicBezTo>
                    <a:pt x="303" y="3003"/>
                    <a:pt x="280" y="3003"/>
                    <a:pt x="291" y="3048"/>
                  </a:cubicBezTo>
                  <a:cubicBezTo>
                    <a:pt x="303" y="3093"/>
                    <a:pt x="291" y="3127"/>
                    <a:pt x="303" y="3127"/>
                  </a:cubicBezTo>
                  <a:cubicBezTo>
                    <a:pt x="314" y="3138"/>
                    <a:pt x="291" y="3149"/>
                    <a:pt x="280" y="3161"/>
                  </a:cubicBezTo>
                  <a:cubicBezTo>
                    <a:pt x="258" y="3183"/>
                    <a:pt x="258" y="3272"/>
                    <a:pt x="269" y="3284"/>
                  </a:cubicBezTo>
                  <a:cubicBezTo>
                    <a:pt x="280" y="3295"/>
                    <a:pt x="314" y="3272"/>
                    <a:pt x="325" y="3306"/>
                  </a:cubicBezTo>
                  <a:cubicBezTo>
                    <a:pt x="325" y="3328"/>
                    <a:pt x="336" y="3418"/>
                    <a:pt x="392" y="3474"/>
                  </a:cubicBezTo>
                  <a:cubicBezTo>
                    <a:pt x="448" y="3519"/>
                    <a:pt x="482" y="3530"/>
                    <a:pt x="538" y="3530"/>
                  </a:cubicBezTo>
                  <a:cubicBezTo>
                    <a:pt x="583" y="3530"/>
                    <a:pt x="594" y="3631"/>
                    <a:pt x="650" y="3609"/>
                  </a:cubicBezTo>
                  <a:cubicBezTo>
                    <a:pt x="695" y="3597"/>
                    <a:pt x="706" y="3541"/>
                    <a:pt x="717" y="3485"/>
                  </a:cubicBezTo>
                  <a:cubicBezTo>
                    <a:pt x="739" y="3418"/>
                    <a:pt x="784" y="3373"/>
                    <a:pt x="807" y="3373"/>
                  </a:cubicBezTo>
                  <a:cubicBezTo>
                    <a:pt x="829" y="3373"/>
                    <a:pt x="919" y="3418"/>
                    <a:pt x="930" y="3418"/>
                  </a:cubicBezTo>
                  <a:lnTo>
                    <a:pt x="941" y="3351"/>
                  </a:lnTo>
                  <a:cubicBezTo>
                    <a:pt x="941" y="3351"/>
                    <a:pt x="1031" y="3340"/>
                    <a:pt x="1121" y="3351"/>
                  </a:cubicBezTo>
                  <a:cubicBezTo>
                    <a:pt x="1221" y="3373"/>
                    <a:pt x="1289" y="3396"/>
                    <a:pt x="1311" y="3418"/>
                  </a:cubicBezTo>
                  <a:cubicBezTo>
                    <a:pt x="1322" y="3441"/>
                    <a:pt x="1390" y="3519"/>
                    <a:pt x="1390" y="3519"/>
                  </a:cubicBezTo>
                  <a:cubicBezTo>
                    <a:pt x="1390" y="3519"/>
                    <a:pt x="1434" y="3497"/>
                    <a:pt x="1457" y="3497"/>
                  </a:cubicBezTo>
                  <a:cubicBezTo>
                    <a:pt x="1479" y="3508"/>
                    <a:pt x="1490" y="3541"/>
                    <a:pt x="1479" y="3564"/>
                  </a:cubicBezTo>
                  <a:cubicBezTo>
                    <a:pt x="1479" y="3597"/>
                    <a:pt x="1479" y="3597"/>
                    <a:pt x="1535" y="3575"/>
                  </a:cubicBezTo>
                  <a:cubicBezTo>
                    <a:pt x="1591" y="3564"/>
                    <a:pt x="1614" y="3564"/>
                    <a:pt x="1614" y="3564"/>
                  </a:cubicBezTo>
                  <a:cubicBezTo>
                    <a:pt x="1614" y="3564"/>
                    <a:pt x="1603" y="3609"/>
                    <a:pt x="1636" y="3597"/>
                  </a:cubicBezTo>
                  <a:cubicBezTo>
                    <a:pt x="1670" y="3586"/>
                    <a:pt x="1726" y="3552"/>
                    <a:pt x="1736" y="3575"/>
                  </a:cubicBezTo>
                  <a:cubicBezTo>
                    <a:pt x="1758" y="3597"/>
                    <a:pt x="1736" y="3642"/>
                    <a:pt x="1758" y="3654"/>
                  </a:cubicBezTo>
                  <a:cubicBezTo>
                    <a:pt x="1781" y="3665"/>
                    <a:pt x="1803" y="3676"/>
                    <a:pt x="1814" y="3698"/>
                  </a:cubicBezTo>
                  <a:cubicBezTo>
                    <a:pt x="1826" y="3721"/>
                    <a:pt x="1837" y="3743"/>
                    <a:pt x="1882" y="3732"/>
                  </a:cubicBezTo>
                  <a:cubicBezTo>
                    <a:pt x="1927" y="3721"/>
                    <a:pt x="1949" y="3721"/>
                    <a:pt x="1960" y="3732"/>
                  </a:cubicBezTo>
                  <a:cubicBezTo>
                    <a:pt x="1971" y="3743"/>
                    <a:pt x="1971" y="3743"/>
                    <a:pt x="1982" y="3743"/>
                  </a:cubicBezTo>
                  <a:cubicBezTo>
                    <a:pt x="1982" y="3721"/>
                    <a:pt x="1982" y="3698"/>
                    <a:pt x="1994" y="3676"/>
                  </a:cubicBezTo>
                  <a:cubicBezTo>
                    <a:pt x="2005" y="3631"/>
                    <a:pt x="2005" y="3586"/>
                    <a:pt x="1982" y="3564"/>
                  </a:cubicBezTo>
                  <a:cubicBezTo>
                    <a:pt x="1949" y="3552"/>
                    <a:pt x="1949" y="3519"/>
                    <a:pt x="1971" y="3497"/>
                  </a:cubicBezTo>
                  <a:cubicBezTo>
                    <a:pt x="1994" y="3463"/>
                    <a:pt x="2005" y="3429"/>
                    <a:pt x="1971" y="3441"/>
                  </a:cubicBezTo>
                  <a:cubicBezTo>
                    <a:pt x="1938" y="3452"/>
                    <a:pt x="1960" y="3385"/>
                    <a:pt x="1960" y="3362"/>
                  </a:cubicBezTo>
                  <a:cubicBezTo>
                    <a:pt x="1960" y="3351"/>
                    <a:pt x="2005" y="3295"/>
                    <a:pt x="2038" y="3261"/>
                  </a:cubicBezTo>
                  <a:cubicBezTo>
                    <a:pt x="2072" y="3228"/>
                    <a:pt x="2083" y="3228"/>
                    <a:pt x="2095" y="3239"/>
                  </a:cubicBezTo>
                  <a:cubicBezTo>
                    <a:pt x="2117" y="3261"/>
                    <a:pt x="2117" y="3284"/>
                    <a:pt x="2151" y="3272"/>
                  </a:cubicBezTo>
                  <a:cubicBezTo>
                    <a:pt x="2184" y="3261"/>
                    <a:pt x="2196" y="3284"/>
                    <a:pt x="2218" y="3295"/>
                  </a:cubicBezTo>
                  <a:cubicBezTo>
                    <a:pt x="2240" y="3317"/>
                    <a:pt x="2274" y="3295"/>
                    <a:pt x="2319" y="3272"/>
                  </a:cubicBezTo>
                  <a:cubicBezTo>
                    <a:pt x="2364" y="3261"/>
                    <a:pt x="2352" y="3261"/>
                    <a:pt x="2341" y="3228"/>
                  </a:cubicBezTo>
                  <a:cubicBezTo>
                    <a:pt x="2341" y="3205"/>
                    <a:pt x="2330" y="3194"/>
                    <a:pt x="2296" y="3194"/>
                  </a:cubicBezTo>
                  <a:cubicBezTo>
                    <a:pt x="2263" y="3205"/>
                    <a:pt x="2251" y="3205"/>
                    <a:pt x="2229" y="3183"/>
                  </a:cubicBezTo>
                  <a:cubicBezTo>
                    <a:pt x="2218" y="3149"/>
                    <a:pt x="2196" y="3172"/>
                    <a:pt x="2173" y="3161"/>
                  </a:cubicBezTo>
                  <a:cubicBezTo>
                    <a:pt x="2151" y="3149"/>
                    <a:pt x="2128" y="3093"/>
                    <a:pt x="2128" y="3059"/>
                  </a:cubicBezTo>
                  <a:cubicBezTo>
                    <a:pt x="2117" y="3015"/>
                    <a:pt x="2106" y="3003"/>
                    <a:pt x="2072" y="3015"/>
                  </a:cubicBezTo>
                  <a:cubicBezTo>
                    <a:pt x="2027" y="3015"/>
                    <a:pt x="2027" y="3003"/>
                    <a:pt x="2038" y="2981"/>
                  </a:cubicBezTo>
                  <a:cubicBezTo>
                    <a:pt x="2038" y="2948"/>
                    <a:pt x="2027" y="2948"/>
                    <a:pt x="1994" y="2959"/>
                  </a:cubicBezTo>
                  <a:cubicBezTo>
                    <a:pt x="1960" y="2970"/>
                    <a:pt x="1960" y="2925"/>
                    <a:pt x="1960" y="2903"/>
                  </a:cubicBezTo>
                  <a:cubicBezTo>
                    <a:pt x="1960" y="2880"/>
                    <a:pt x="1915" y="2869"/>
                    <a:pt x="1915" y="2858"/>
                  </a:cubicBezTo>
                  <a:cubicBezTo>
                    <a:pt x="1927" y="2847"/>
                    <a:pt x="1904" y="2802"/>
                    <a:pt x="1927" y="2779"/>
                  </a:cubicBezTo>
                  <a:cubicBezTo>
                    <a:pt x="1949" y="2757"/>
                    <a:pt x="1949" y="2746"/>
                    <a:pt x="1915" y="2746"/>
                  </a:cubicBezTo>
                  <a:cubicBezTo>
                    <a:pt x="1882" y="2757"/>
                    <a:pt x="1882" y="2723"/>
                    <a:pt x="1893" y="2712"/>
                  </a:cubicBezTo>
                  <a:cubicBezTo>
                    <a:pt x="1915" y="2690"/>
                    <a:pt x="1893" y="2679"/>
                    <a:pt x="1893" y="2679"/>
                  </a:cubicBezTo>
                  <a:cubicBezTo>
                    <a:pt x="1715" y="2466"/>
                    <a:pt x="1715" y="2466"/>
                    <a:pt x="1715" y="2466"/>
                  </a:cubicBezTo>
                  <a:cubicBezTo>
                    <a:pt x="1859" y="2331"/>
                    <a:pt x="1859" y="2331"/>
                    <a:pt x="1859" y="2331"/>
                  </a:cubicBezTo>
                  <a:cubicBezTo>
                    <a:pt x="2005" y="2185"/>
                    <a:pt x="2005" y="2185"/>
                    <a:pt x="2005" y="2185"/>
                  </a:cubicBezTo>
                  <a:cubicBezTo>
                    <a:pt x="2005" y="2185"/>
                    <a:pt x="2005" y="2208"/>
                    <a:pt x="2016" y="2241"/>
                  </a:cubicBezTo>
                  <a:cubicBezTo>
                    <a:pt x="2016" y="2275"/>
                    <a:pt x="2027" y="2275"/>
                    <a:pt x="2050" y="2275"/>
                  </a:cubicBezTo>
                  <a:cubicBezTo>
                    <a:pt x="2072" y="2275"/>
                    <a:pt x="2072" y="2230"/>
                    <a:pt x="2072" y="2197"/>
                  </a:cubicBezTo>
                  <a:cubicBezTo>
                    <a:pt x="2072" y="2152"/>
                    <a:pt x="2128" y="2163"/>
                    <a:pt x="2128" y="2163"/>
                  </a:cubicBezTo>
                  <a:cubicBezTo>
                    <a:pt x="2128" y="2152"/>
                    <a:pt x="2128" y="1995"/>
                    <a:pt x="2128" y="1984"/>
                  </a:cubicBezTo>
                  <a:cubicBezTo>
                    <a:pt x="2117" y="1984"/>
                    <a:pt x="2072" y="1961"/>
                    <a:pt x="2038" y="1939"/>
                  </a:cubicBezTo>
                  <a:cubicBezTo>
                    <a:pt x="2005" y="1928"/>
                    <a:pt x="2005" y="1950"/>
                    <a:pt x="1994" y="1972"/>
                  </a:cubicBezTo>
                  <a:cubicBezTo>
                    <a:pt x="1982" y="1995"/>
                    <a:pt x="1971" y="2006"/>
                    <a:pt x="1949" y="1995"/>
                  </a:cubicBezTo>
                  <a:cubicBezTo>
                    <a:pt x="1938" y="1972"/>
                    <a:pt x="1938" y="1950"/>
                    <a:pt x="1960" y="1928"/>
                  </a:cubicBezTo>
                  <a:cubicBezTo>
                    <a:pt x="1971" y="1917"/>
                    <a:pt x="1960" y="1838"/>
                    <a:pt x="1960" y="1838"/>
                  </a:cubicBezTo>
                  <a:cubicBezTo>
                    <a:pt x="1960" y="1838"/>
                    <a:pt x="2016" y="1838"/>
                    <a:pt x="2038" y="1827"/>
                  </a:cubicBezTo>
                  <a:cubicBezTo>
                    <a:pt x="2072" y="1804"/>
                    <a:pt x="2072" y="1759"/>
                    <a:pt x="2095" y="1737"/>
                  </a:cubicBezTo>
                  <a:cubicBezTo>
                    <a:pt x="2117" y="1715"/>
                    <a:pt x="2196" y="1703"/>
                    <a:pt x="2196" y="1703"/>
                  </a:cubicBezTo>
                  <a:cubicBezTo>
                    <a:pt x="2196" y="1524"/>
                    <a:pt x="2196" y="1524"/>
                    <a:pt x="2196" y="1524"/>
                  </a:cubicBezTo>
                  <a:cubicBezTo>
                    <a:pt x="2341" y="1423"/>
                    <a:pt x="2341" y="1423"/>
                    <a:pt x="2341" y="1423"/>
                  </a:cubicBezTo>
                  <a:cubicBezTo>
                    <a:pt x="2341" y="1423"/>
                    <a:pt x="2352" y="1457"/>
                    <a:pt x="2375" y="1468"/>
                  </a:cubicBezTo>
                  <a:cubicBezTo>
                    <a:pt x="2397" y="1490"/>
                    <a:pt x="2431" y="1502"/>
                    <a:pt x="2442" y="1524"/>
                  </a:cubicBezTo>
                  <a:cubicBezTo>
                    <a:pt x="2464" y="1547"/>
                    <a:pt x="2476" y="1535"/>
                    <a:pt x="2487" y="1524"/>
                  </a:cubicBezTo>
                  <a:cubicBezTo>
                    <a:pt x="2498" y="1513"/>
                    <a:pt x="2520" y="1479"/>
                    <a:pt x="2520" y="1479"/>
                  </a:cubicBezTo>
                  <a:cubicBezTo>
                    <a:pt x="2520" y="1479"/>
                    <a:pt x="2520" y="1457"/>
                    <a:pt x="2498" y="142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5"/>
            <p:cNvSpPr>
              <a:spLocks noChangeArrowheads="1"/>
            </p:cNvSpPr>
            <p:nvPr/>
          </p:nvSpPr>
          <p:spPr bwMode="auto">
            <a:xfrm>
              <a:off x="3186223" y="1612391"/>
              <a:ext cx="1348266" cy="1593471"/>
            </a:xfrm>
            <a:custGeom>
              <a:avLst/>
              <a:gdLst>
                <a:gd name="T0" fmla="*/ 3832 w 3890"/>
                <a:gd name="T1" fmla="*/ 2936 h 4596"/>
                <a:gd name="T2" fmla="*/ 3743 w 3890"/>
                <a:gd name="T3" fmla="*/ 2802 h 4596"/>
                <a:gd name="T4" fmla="*/ 3743 w 3890"/>
                <a:gd name="T5" fmla="*/ 2555 h 4596"/>
                <a:gd name="T6" fmla="*/ 3776 w 3890"/>
                <a:gd name="T7" fmla="*/ 2454 h 4596"/>
                <a:gd name="T8" fmla="*/ 3855 w 3890"/>
                <a:gd name="T9" fmla="*/ 2196 h 4596"/>
                <a:gd name="T10" fmla="*/ 3844 w 3890"/>
                <a:gd name="T11" fmla="*/ 1692 h 4596"/>
                <a:gd name="T12" fmla="*/ 3732 w 3890"/>
                <a:gd name="T13" fmla="*/ 1569 h 4596"/>
                <a:gd name="T14" fmla="*/ 2387 w 3890"/>
                <a:gd name="T15" fmla="*/ 1031 h 4596"/>
                <a:gd name="T16" fmla="*/ 201 w 3890"/>
                <a:gd name="T17" fmla="*/ 0 h 4596"/>
                <a:gd name="T18" fmla="*/ 201 w 3890"/>
                <a:gd name="T19" fmla="*/ 11 h 4596"/>
                <a:gd name="T20" fmla="*/ 190 w 3890"/>
                <a:gd name="T21" fmla="*/ 11 h 4596"/>
                <a:gd name="T22" fmla="*/ 0 w 3890"/>
                <a:gd name="T23" fmla="*/ 168 h 4596"/>
                <a:gd name="T24" fmla="*/ 34 w 3890"/>
                <a:gd name="T25" fmla="*/ 392 h 4596"/>
                <a:gd name="T26" fmla="*/ 34 w 3890"/>
                <a:gd name="T27" fmla="*/ 392 h 4596"/>
                <a:gd name="T28" fmla="*/ 34 w 3890"/>
                <a:gd name="T29" fmla="*/ 403 h 4596"/>
                <a:gd name="T30" fmla="*/ 123 w 3890"/>
                <a:gd name="T31" fmla="*/ 516 h 4596"/>
                <a:gd name="T32" fmla="*/ 258 w 3890"/>
                <a:gd name="T33" fmla="*/ 549 h 4596"/>
                <a:gd name="T34" fmla="*/ 325 w 3890"/>
                <a:gd name="T35" fmla="*/ 650 h 4596"/>
                <a:gd name="T36" fmla="*/ 493 w 3890"/>
                <a:gd name="T37" fmla="*/ 751 h 4596"/>
                <a:gd name="T38" fmla="*/ 616 w 3890"/>
                <a:gd name="T39" fmla="*/ 717 h 4596"/>
                <a:gd name="T40" fmla="*/ 807 w 3890"/>
                <a:gd name="T41" fmla="*/ 796 h 4596"/>
                <a:gd name="T42" fmla="*/ 952 w 3890"/>
                <a:gd name="T43" fmla="*/ 964 h 4596"/>
                <a:gd name="T44" fmla="*/ 1165 w 3890"/>
                <a:gd name="T45" fmla="*/ 1042 h 4596"/>
                <a:gd name="T46" fmla="*/ 1132 w 3890"/>
                <a:gd name="T47" fmla="*/ 1278 h 4596"/>
                <a:gd name="T48" fmla="*/ 1221 w 3890"/>
                <a:gd name="T49" fmla="*/ 1636 h 4596"/>
                <a:gd name="T50" fmla="*/ 1445 w 3890"/>
                <a:gd name="T51" fmla="*/ 2196 h 4596"/>
                <a:gd name="T52" fmla="*/ 1479 w 3890"/>
                <a:gd name="T53" fmla="*/ 2409 h 4596"/>
                <a:gd name="T54" fmla="*/ 1591 w 3890"/>
                <a:gd name="T55" fmla="*/ 2611 h 4596"/>
                <a:gd name="T56" fmla="*/ 1759 w 3890"/>
                <a:gd name="T57" fmla="*/ 2791 h 4596"/>
                <a:gd name="T58" fmla="*/ 1782 w 3890"/>
                <a:gd name="T59" fmla="*/ 2914 h 4596"/>
                <a:gd name="T60" fmla="*/ 1916 w 3890"/>
                <a:gd name="T61" fmla="*/ 3082 h 4596"/>
                <a:gd name="T62" fmla="*/ 2163 w 3890"/>
                <a:gd name="T63" fmla="*/ 3340 h 4596"/>
                <a:gd name="T64" fmla="*/ 2342 w 3890"/>
                <a:gd name="T65" fmla="*/ 3373 h 4596"/>
                <a:gd name="T66" fmla="*/ 2555 w 3890"/>
                <a:gd name="T67" fmla="*/ 3496 h 4596"/>
                <a:gd name="T68" fmla="*/ 2521 w 3890"/>
                <a:gd name="T69" fmla="*/ 3609 h 4596"/>
                <a:gd name="T70" fmla="*/ 2555 w 3890"/>
                <a:gd name="T71" fmla="*/ 3720 h 4596"/>
                <a:gd name="T72" fmla="*/ 2622 w 3890"/>
                <a:gd name="T73" fmla="*/ 3933 h 4596"/>
                <a:gd name="T74" fmla="*/ 2869 w 3890"/>
                <a:gd name="T75" fmla="*/ 4068 h 4596"/>
                <a:gd name="T76" fmla="*/ 2992 w 3890"/>
                <a:gd name="T77" fmla="*/ 4270 h 4596"/>
                <a:gd name="T78" fmla="*/ 3104 w 3890"/>
                <a:gd name="T79" fmla="*/ 4371 h 4596"/>
                <a:gd name="T80" fmla="*/ 3294 w 3890"/>
                <a:gd name="T81" fmla="*/ 4505 h 4596"/>
                <a:gd name="T82" fmla="*/ 3396 w 3890"/>
                <a:gd name="T83" fmla="*/ 4595 h 4596"/>
                <a:gd name="T84" fmla="*/ 3575 w 3890"/>
                <a:gd name="T85" fmla="*/ 4471 h 4596"/>
                <a:gd name="T86" fmla="*/ 3709 w 3890"/>
                <a:gd name="T87" fmla="*/ 4393 h 4596"/>
                <a:gd name="T88" fmla="*/ 3810 w 3890"/>
                <a:gd name="T89" fmla="*/ 4158 h 4596"/>
                <a:gd name="T90" fmla="*/ 3743 w 3890"/>
                <a:gd name="T91" fmla="*/ 4057 h 4596"/>
                <a:gd name="T92" fmla="*/ 3765 w 3890"/>
                <a:gd name="T93" fmla="*/ 3855 h 4596"/>
                <a:gd name="T94" fmla="*/ 3665 w 3890"/>
                <a:gd name="T95" fmla="*/ 3620 h 4596"/>
                <a:gd name="T96" fmla="*/ 3575 w 3890"/>
                <a:gd name="T97" fmla="*/ 3485 h 4596"/>
                <a:gd name="T98" fmla="*/ 3665 w 3890"/>
                <a:gd name="T99" fmla="*/ 3272 h 4596"/>
                <a:gd name="T100" fmla="*/ 3866 w 3890"/>
                <a:gd name="T101" fmla="*/ 3227 h 4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90" h="4596">
                  <a:moveTo>
                    <a:pt x="3832" y="2936"/>
                  </a:moveTo>
                  <a:lnTo>
                    <a:pt x="3832" y="2936"/>
                  </a:lnTo>
                  <a:cubicBezTo>
                    <a:pt x="3810" y="2925"/>
                    <a:pt x="3810" y="2847"/>
                    <a:pt x="3776" y="2847"/>
                  </a:cubicBezTo>
                  <a:cubicBezTo>
                    <a:pt x="3743" y="2835"/>
                    <a:pt x="3743" y="2813"/>
                    <a:pt x="3743" y="2802"/>
                  </a:cubicBezTo>
                  <a:cubicBezTo>
                    <a:pt x="3743" y="2791"/>
                    <a:pt x="3732" y="2678"/>
                    <a:pt x="3732" y="2600"/>
                  </a:cubicBezTo>
                  <a:cubicBezTo>
                    <a:pt x="3732" y="2578"/>
                    <a:pt x="3732" y="2555"/>
                    <a:pt x="3743" y="2555"/>
                  </a:cubicBezTo>
                  <a:cubicBezTo>
                    <a:pt x="3765" y="2544"/>
                    <a:pt x="3776" y="2533"/>
                    <a:pt x="3765" y="2510"/>
                  </a:cubicBezTo>
                  <a:cubicBezTo>
                    <a:pt x="3754" y="2488"/>
                    <a:pt x="3754" y="2465"/>
                    <a:pt x="3776" y="2454"/>
                  </a:cubicBezTo>
                  <a:cubicBezTo>
                    <a:pt x="3810" y="2454"/>
                    <a:pt x="3799" y="2421"/>
                    <a:pt x="3821" y="2376"/>
                  </a:cubicBezTo>
                  <a:cubicBezTo>
                    <a:pt x="3832" y="2342"/>
                    <a:pt x="3866" y="2230"/>
                    <a:pt x="3855" y="2196"/>
                  </a:cubicBezTo>
                  <a:cubicBezTo>
                    <a:pt x="3844" y="2163"/>
                    <a:pt x="3821" y="2129"/>
                    <a:pt x="3844" y="2062"/>
                  </a:cubicBezTo>
                  <a:cubicBezTo>
                    <a:pt x="3877" y="1995"/>
                    <a:pt x="3877" y="1715"/>
                    <a:pt x="3844" y="1692"/>
                  </a:cubicBezTo>
                  <a:cubicBezTo>
                    <a:pt x="3821" y="1681"/>
                    <a:pt x="3832" y="1636"/>
                    <a:pt x="3832" y="1603"/>
                  </a:cubicBezTo>
                  <a:cubicBezTo>
                    <a:pt x="3832" y="1569"/>
                    <a:pt x="3732" y="1569"/>
                    <a:pt x="3732" y="1569"/>
                  </a:cubicBezTo>
                  <a:cubicBezTo>
                    <a:pt x="3732" y="1109"/>
                    <a:pt x="3732" y="1109"/>
                    <a:pt x="3732" y="1109"/>
                  </a:cubicBezTo>
                  <a:cubicBezTo>
                    <a:pt x="2387" y="1031"/>
                    <a:pt x="2387" y="1031"/>
                    <a:pt x="2387" y="1031"/>
                  </a:cubicBezTo>
                  <a:cubicBezTo>
                    <a:pt x="201" y="0"/>
                    <a:pt x="201" y="0"/>
                    <a:pt x="201" y="0"/>
                  </a:cubicBezTo>
                  <a:lnTo>
                    <a:pt x="201" y="0"/>
                  </a:lnTo>
                  <a:lnTo>
                    <a:pt x="201" y="11"/>
                  </a:lnTo>
                  <a:lnTo>
                    <a:pt x="201" y="11"/>
                  </a:lnTo>
                  <a:lnTo>
                    <a:pt x="190" y="11"/>
                  </a:lnTo>
                  <a:lnTo>
                    <a:pt x="190" y="11"/>
                  </a:lnTo>
                  <a:cubicBezTo>
                    <a:pt x="190" y="11"/>
                    <a:pt x="190" y="11"/>
                    <a:pt x="179" y="11"/>
                  </a:cubicBezTo>
                  <a:cubicBezTo>
                    <a:pt x="134" y="23"/>
                    <a:pt x="0" y="123"/>
                    <a:pt x="0" y="168"/>
                  </a:cubicBezTo>
                  <a:cubicBezTo>
                    <a:pt x="0" y="213"/>
                    <a:pt x="45" y="213"/>
                    <a:pt x="45" y="247"/>
                  </a:cubicBezTo>
                  <a:cubicBezTo>
                    <a:pt x="45" y="269"/>
                    <a:pt x="34" y="359"/>
                    <a:pt x="34" y="392"/>
                  </a:cubicBezTo>
                  <a:lnTo>
                    <a:pt x="34" y="392"/>
                  </a:lnTo>
                  <a:lnTo>
                    <a:pt x="34" y="392"/>
                  </a:lnTo>
                  <a:cubicBezTo>
                    <a:pt x="34" y="403"/>
                    <a:pt x="34" y="403"/>
                    <a:pt x="34" y="403"/>
                  </a:cubicBezTo>
                  <a:lnTo>
                    <a:pt x="34" y="403"/>
                  </a:lnTo>
                  <a:lnTo>
                    <a:pt x="34" y="403"/>
                  </a:lnTo>
                  <a:cubicBezTo>
                    <a:pt x="34" y="403"/>
                    <a:pt x="101" y="471"/>
                    <a:pt x="123" y="516"/>
                  </a:cubicBezTo>
                  <a:cubicBezTo>
                    <a:pt x="157" y="572"/>
                    <a:pt x="168" y="560"/>
                    <a:pt x="201" y="538"/>
                  </a:cubicBezTo>
                  <a:cubicBezTo>
                    <a:pt x="235" y="527"/>
                    <a:pt x="258" y="527"/>
                    <a:pt x="258" y="549"/>
                  </a:cubicBezTo>
                  <a:cubicBezTo>
                    <a:pt x="258" y="583"/>
                    <a:pt x="258" y="605"/>
                    <a:pt x="258" y="605"/>
                  </a:cubicBezTo>
                  <a:cubicBezTo>
                    <a:pt x="269" y="605"/>
                    <a:pt x="291" y="616"/>
                    <a:pt x="325" y="650"/>
                  </a:cubicBezTo>
                  <a:cubicBezTo>
                    <a:pt x="358" y="695"/>
                    <a:pt x="381" y="740"/>
                    <a:pt x="426" y="729"/>
                  </a:cubicBezTo>
                  <a:cubicBezTo>
                    <a:pt x="470" y="729"/>
                    <a:pt x="482" y="717"/>
                    <a:pt x="493" y="751"/>
                  </a:cubicBezTo>
                  <a:cubicBezTo>
                    <a:pt x="504" y="773"/>
                    <a:pt x="527" y="829"/>
                    <a:pt x="571" y="807"/>
                  </a:cubicBezTo>
                  <a:cubicBezTo>
                    <a:pt x="616" y="796"/>
                    <a:pt x="605" y="740"/>
                    <a:pt x="616" y="717"/>
                  </a:cubicBezTo>
                  <a:cubicBezTo>
                    <a:pt x="627" y="695"/>
                    <a:pt x="639" y="661"/>
                    <a:pt x="683" y="695"/>
                  </a:cubicBezTo>
                  <a:cubicBezTo>
                    <a:pt x="717" y="729"/>
                    <a:pt x="796" y="773"/>
                    <a:pt x="807" y="796"/>
                  </a:cubicBezTo>
                  <a:cubicBezTo>
                    <a:pt x="807" y="818"/>
                    <a:pt x="807" y="885"/>
                    <a:pt x="829" y="919"/>
                  </a:cubicBezTo>
                  <a:cubicBezTo>
                    <a:pt x="840" y="941"/>
                    <a:pt x="885" y="964"/>
                    <a:pt x="952" y="964"/>
                  </a:cubicBezTo>
                  <a:cubicBezTo>
                    <a:pt x="975" y="975"/>
                    <a:pt x="997" y="975"/>
                    <a:pt x="1020" y="975"/>
                  </a:cubicBezTo>
                  <a:cubicBezTo>
                    <a:pt x="1087" y="975"/>
                    <a:pt x="1165" y="986"/>
                    <a:pt x="1165" y="1042"/>
                  </a:cubicBezTo>
                  <a:cubicBezTo>
                    <a:pt x="1176" y="1054"/>
                    <a:pt x="1176" y="1076"/>
                    <a:pt x="1165" y="1098"/>
                  </a:cubicBezTo>
                  <a:cubicBezTo>
                    <a:pt x="1165" y="1177"/>
                    <a:pt x="1132" y="1255"/>
                    <a:pt x="1132" y="1278"/>
                  </a:cubicBezTo>
                  <a:cubicBezTo>
                    <a:pt x="1109" y="1311"/>
                    <a:pt x="1098" y="1423"/>
                    <a:pt x="1143" y="1468"/>
                  </a:cubicBezTo>
                  <a:cubicBezTo>
                    <a:pt x="1188" y="1524"/>
                    <a:pt x="1221" y="1569"/>
                    <a:pt x="1221" y="1636"/>
                  </a:cubicBezTo>
                  <a:cubicBezTo>
                    <a:pt x="1232" y="1715"/>
                    <a:pt x="1244" y="1804"/>
                    <a:pt x="1289" y="1916"/>
                  </a:cubicBezTo>
                  <a:cubicBezTo>
                    <a:pt x="1345" y="2040"/>
                    <a:pt x="1412" y="2152"/>
                    <a:pt x="1445" y="2196"/>
                  </a:cubicBezTo>
                  <a:cubicBezTo>
                    <a:pt x="1468" y="2241"/>
                    <a:pt x="1479" y="2320"/>
                    <a:pt x="1468" y="2353"/>
                  </a:cubicBezTo>
                  <a:cubicBezTo>
                    <a:pt x="1457" y="2376"/>
                    <a:pt x="1423" y="2421"/>
                    <a:pt x="1479" y="2409"/>
                  </a:cubicBezTo>
                  <a:cubicBezTo>
                    <a:pt x="1524" y="2387"/>
                    <a:pt x="1591" y="2387"/>
                    <a:pt x="1580" y="2443"/>
                  </a:cubicBezTo>
                  <a:cubicBezTo>
                    <a:pt x="1580" y="2510"/>
                    <a:pt x="1569" y="2566"/>
                    <a:pt x="1591" y="2611"/>
                  </a:cubicBezTo>
                  <a:cubicBezTo>
                    <a:pt x="1603" y="2656"/>
                    <a:pt x="1670" y="2779"/>
                    <a:pt x="1703" y="2791"/>
                  </a:cubicBezTo>
                  <a:cubicBezTo>
                    <a:pt x="1726" y="2791"/>
                    <a:pt x="1748" y="2768"/>
                    <a:pt x="1759" y="2791"/>
                  </a:cubicBezTo>
                  <a:cubicBezTo>
                    <a:pt x="1770" y="2824"/>
                    <a:pt x="1748" y="2847"/>
                    <a:pt x="1748" y="2869"/>
                  </a:cubicBezTo>
                  <a:cubicBezTo>
                    <a:pt x="1737" y="2880"/>
                    <a:pt x="1759" y="2902"/>
                    <a:pt x="1782" y="2914"/>
                  </a:cubicBezTo>
                  <a:cubicBezTo>
                    <a:pt x="1815" y="2925"/>
                    <a:pt x="1827" y="2958"/>
                    <a:pt x="1827" y="3003"/>
                  </a:cubicBezTo>
                  <a:cubicBezTo>
                    <a:pt x="1827" y="3037"/>
                    <a:pt x="1871" y="3071"/>
                    <a:pt x="1916" y="3082"/>
                  </a:cubicBezTo>
                  <a:cubicBezTo>
                    <a:pt x="1961" y="3093"/>
                    <a:pt x="1994" y="3127"/>
                    <a:pt x="2017" y="3149"/>
                  </a:cubicBezTo>
                  <a:cubicBezTo>
                    <a:pt x="2039" y="3160"/>
                    <a:pt x="2096" y="3284"/>
                    <a:pt x="2163" y="3340"/>
                  </a:cubicBezTo>
                  <a:cubicBezTo>
                    <a:pt x="2230" y="3396"/>
                    <a:pt x="2308" y="3418"/>
                    <a:pt x="2320" y="3418"/>
                  </a:cubicBezTo>
                  <a:cubicBezTo>
                    <a:pt x="2342" y="3418"/>
                    <a:pt x="2320" y="3362"/>
                    <a:pt x="2342" y="3373"/>
                  </a:cubicBezTo>
                  <a:cubicBezTo>
                    <a:pt x="2376" y="3384"/>
                    <a:pt x="2443" y="3452"/>
                    <a:pt x="2488" y="3474"/>
                  </a:cubicBezTo>
                  <a:cubicBezTo>
                    <a:pt x="2521" y="3485"/>
                    <a:pt x="2566" y="3485"/>
                    <a:pt x="2555" y="3496"/>
                  </a:cubicBezTo>
                  <a:cubicBezTo>
                    <a:pt x="2555" y="3508"/>
                    <a:pt x="2521" y="3530"/>
                    <a:pt x="2510" y="3553"/>
                  </a:cubicBezTo>
                  <a:cubicBezTo>
                    <a:pt x="2488" y="3575"/>
                    <a:pt x="2510" y="3609"/>
                    <a:pt x="2521" y="3609"/>
                  </a:cubicBezTo>
                  <a:cubicBezTo>
                    <a:pt x="2544" y="3620"/>
                    <a:pt x="2544" y="3631"/>
                    <a:pt x="2532" y="3642"/>
                  </a:cubicBezTo>
                  <a:cubicBezTo>
                    <a:pt x="2521" y="3653"/>
                    <a:pt x="2532" y="3698"/>
                    <a:pt x="2555" y="3720"/>
                  </a:cubicBezTo>
                  <a:cubicBezTo>
                    <a:pt x="2566" y="3743"/>
                    <a:pt x="2566" y="3788"/>
                    <a:pt x="2566" y="3833"/>
                  </a:cubicBezTo>
                  <a:cubicBezTo>
                    <a:pt x="2566" y="3866"/>
                    <a:pt x="2600" y="3911"/>
                    <a:pt x="2622" y="3933"/>
                  </a:cubicBezTo>
                  <a:cubicBezTo>
                    <a:pt x="2645" y="3945"/>
                    <a:pt x="2757" y="4046"/>
                    <a:pt x="2790" y="4057"/>
                  </a:cubicBezTo>
                  <a:cubicBezTo>
                    <a:pt x="2813" y="4057"/>
                    <a:pt x="2835" y="4023"/>
                    <a:pt x="2869" y="4068"/>
                  </a:cubicBezTo>
                  <a:cubicBezTo>
                    <a:pt x="2903" y="4113"/>
                    <a:pt x="2925" y="4191"/>
                    <a:pt x="2958" y="4202"/>
                  </a:cubicBezTo>
                  <a:cubicBezTo>
                    <a:pt x="2992" y="4214"/>
                    <a:pt x="3003" y="4247"/>
                    <a:pt x="2992" y="4270"/>
                  </a:cubicBezTo>
                  <a:cubicBezTo>
                    <a:pt x="2981" y="4292"/>
                    <a:pt x="2958" y="4337"/>
                    <a:pt x="3014" y="4360"/>
                  </a:cubicBezTo>
                  <a:cubicBezTo>
                    <a:pt x="3070" y="4382"/>
                    <a:pt x="3093" y="4393"/>
                    <a:pt x="3104" y="4371"/>
                  </a:cubicBezTo>
                  <a:cubicBezTo>
                    <a:pt x="3115" y="4348"/>
                    <a:pt x="3149" y="4326"/>
                    <a:pt x="3171" y="4337"/>
                  </a:cubicBezTo>
                  <a:cubicBezTo>
                    <a:pt x="3183" y="4360"/>
                    <a:pt x="3250" y="4427"/>
                    <a:pt x="3294" y="4505"/>
                  </a:cubicBezTo>
                  <a:cubicBezTo>
                    <a:pt x="3306" y="4539"/>
                    <a:pt x="3317" y="4561"/>
                    <a:pt x="3328" y="4584"/>
                  </a:cubicBezTo>
                  <a:cubicBezTo>
                    <a:pt x="3396" y="4595"/>
                    <a:pt x="3396" y="4595"/>
                    <a:pt x="3396" y="4595"/>
                  </a:cubicBezTo>
                  <a:cubicBezTo>
                    <a:pt x="3575" y="4527"/>
                    <a:pt x="3575" y="4527"/>
                    <a:pt x="3575" y="4527"/>
                  </a:cubicBezTo>
                  <a:cubicBezTo>
                    <a:pt x="3575" y="4471"/>
                    <a:pt x="3575" y="4471"/>
                    <a:pt x="3575" y="4471"/>
                  </a:cubicBezTo>
                  <a:lnTo>
                    <a:pt x="3575" y="4471"/>
                  </a:lnTo>
                  <a:cubicBezTo>
                    <a:pt x="3709" y="4393"/>
                    <a:pt x="3709" y="4393"/>
                    <a:pt x="3709" y="4393"/>
                  </a:cubicBezTo>
                  <a:cubicBezTo>
                    <a:pt x="3832" y="4158"/>
                    <a:pt x="3832" y="4158"/>
                    <a:pt x="3832" y="4158"/>
                  </a:cubicBezTo>
                  <a:cubicBezTo>
                    <a:pt x="3810" y="4158"/>
                    <a:pt x="3810" y="4158"/>
                    <a:pt x="3810" y="4158"/>
                  </a:cubicBezTo>
                  <a:cubicBezTo>
                    <a:pt x="3810" y="4158"/>
                    <a:pt x="3810" y="4147"/>
                    <a:pt x="3788" y="4135"/>
                  </a:cubicBezTo>
                  <a:cubicBezTo>
                    <a:pt x="3754" y="4113"/>
                    <a:pt x="3765" y="4068"/>
                    <a:pt x="3743" y="4057"/>
                  </a:cubicBezTo>
                  <a:cubicBezTo>
                    <a:pt x="3721" y="4046"/>
                    <a:pt x="3721" y="4012"/>
                    <a:pt x="3743" y="3978"/>
                  </a:cubicBezTo>
                  <a:cubicBezTo>
                    <a:pt x="3754" y="3933"/>
                    <a:pt x="3765" y="3900"/>
                    <a:pt x="3765" y="3855"/>
                  </a:cubicBezTo>
                  <a:cubicBezTo>
                    <a:pt x="3765" y="3822"/>
                    <a:pt x="3709" y="3743"/>
                    <a:pt x="3709" y="3698"/>
                  </a:cubicBezTo>
                  <a:cubicBezTo>
                    <a:pt x="3709" y="3642"/>
                    <a:pt x="3709" y="3631"/>
                    <a:pt x="3665" y="3620"/>
                  </a:cubicBezTo>
                  <a:cubicBezTo>
                    <a:pt x="3608" y="3609"/>
                    <a:pt x="3620" y="3597"/>
                    <a:pt x="3620" y="3553"/>
                  </a:cubicBezTo>
                  <a:cubicBezTo>
                    <a:pt x="3620" y="3508"/>
                    <a:pt x="3586" y="3519"/>
                    <a:pt x="3575" y="3485"/>
                  </a:cubicBezTo>
                  <a:cubicBezTo>
                    <a:pt x="3552" y="3463"/>
                    <a:pt x="3496" y="3295"/>
                    <a:pt x="3507" y="3272"/>
                  </a:cubicBezTo>
                  <a:cubicBezTo>
                    <a:pt x="3519" y="3250"/>
                    <a:pt x="3608" y="3261"/>
                    <a:pt x="3665" y="3272"/>
                  </a:cubicBezTo>
                  <a:cubicBezTo>
                    <a:pt x="3721" y="3284"/>
                    <a:pt x="3732" y="3250"/>
                    <a:pt x="3743" y="3239"/>
                  </a:cubicBezTo>
                  <a:cubicBezTo>
                    <a:pt x="3765" y="3227"/>
                    <a:pt x="3844" y="3239"/>
                    <a:pt x="3866" y="3227"/>
                  </a:cubicBezTo>
                  <a:cubicBezTo>
                    <a:pt x="3889" y="3205"/>
                    <a:pt x="3866" y="2947"/>
                    <a:pt x="3832" y="293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6"/>
            <p:cNvSpPr>
              <a:spLocks noChangeArrowheads="1"/>
            </p:cNvSpPr>
            <p:nvPr/>
          </p:nvSpPr>
          <p:spPr bwMode="auto">
            <a:xfrm>
              <a:off x="5746704" y="4192224"/>
              <a:ext cx="218597" cy="214094"/>
            </a:xfrm>
            <a:custGeom>
              <a:avLst/>
              <a:gdLst>
                <a:gd name="T0" fmla="*/ 78 w 629"/>
                <a:gd name="T1" fmla="*/ 505 h 617"/>
                <a:gd name="T2" fmla="*/ 78 w 629"/>
                <a:gd name="T3" fmla="*/ 505 h 617"/>
                <a:gd name="T4" fmla="*/ 146 w 629"/>
                <a:gd name="T5" fmla="*/ 505 h 617"/>
                <a:gd name="T6" fmla="*/ 213 w 629"/>
                <a:gd name="T7" fmla="*/ 527 h 617"/>
                <a:gd name="T8" fmla="*/ 280 w 629"/>
                <a:gd name="T9" fmla="*/ 583 h 617"/>
                <a:gd name="T10" fmla="*/ 381 w 629"/>
                <a:gd name="T11" fmla="*/ 561 h 617"/>
                <a:gd name="T12" fmla="*/ 583 w 629"/>
                <a:gd name="T13" fmla="*/ 415 h 617"/>
                <a:gd name="T14" fmla="*/ 628 w 629"/>
                <a:gd name="T15" fmla="*/ 303 h 617"/>
                <a:gd name="T16" fmla="*/ 616 w 629"/>
                <a:gd name="T17" fmla="*/ 303 h 617"/>
                <a:gd name="T18" fmla="*/ 583 w 629"/>
                <a:gd name="T19" fmla="*/ 258 h 617"/>
                <a:gd name="T20" fmla="*/ 538 w 629"/>
                <a:gd name="T21" fmla="*/ 213 h 617"/>
                <a:gd name="T22" fmla="*/ 527 w 629"/>
                <a:gd name="T23" fmla="*/ 135 h 617"/>
                <a:gd name="T24" fmla="*/ 381 w 629"/>
                <a:gd name="T25" fmla="*/ 23 h 617"/>
                <a:gd name="T26" fmla="*/ 280 w 629"/>
                <a:gd name="T27" fmla="*/ 45 h 617"/>
                <a:gd name="T28" fmla="*/ 236 w 629"/>
                <a:gd name="T29" fmla="*/ 101 h 617"/>
                <a:gd name="T30" fmla="*/ 123 w 629"/>
                <a:gd name="T31" fmla="*/ 112 h 617"/>
                <a:gd name="T32" fmla="*/ 90 w 629"/>
                <a:gd name="T33" fmla="*/ 236 h 617"/>
                <a:gd name="T34" fmla="*/ 34 w 629"/>
                <a:gd name="T35" fmla="*/ 348 h 617"/>
                <a:gd name="T36" fmla="*/ 34 w 629"/>
                <a:gd name="T37" fmla="*/ 493 h 617"/>
                <a:gd name="T38" fmla="*/ 45 w 629"/>
                <a:gd name="T39" fmla="*/ 538 h 617"/>
                <a:gd name="T40" fmla="*/ 78 w 629"/>
                <a:gd name="T41" fmla="*/ 505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29" h="617">
                  <a:moveTo>
                    <a:pt x="78" y="505"/>
                  </a:moveTo>
                  <a:lnTo>
                    <a:pt x="78" y="505"/>
                  </a:lnTo>
                  <a:cubicBezTo>
                    <a:pt x="90" y="471"/>
                    <a:pt x="135" y="471"/>
                    <a:pt x="146" y="505"/>
                  </a:cubicBezTo>
                  <a:cubicBezTo>
                    <a:pt x="168" y="549"/>
                    <a:pt x="202" y="505"/>
                    <a:pt x="213" y="527"/>
                  </a:cubicBezTo>
                  <a:cubicBezTo>
                    <a:pt x="224" y="549"/>
                    <a:pt x="269" y="549"/>
                    <a:pt x="280" y="583"/>
                  </a:cubicBezTo>
                  <a:cubicBezTo>
                    <a:pt x="303" y="616"/>
                    <a:pt x="370" y="605"/>
                    <a:pt x="381" y="561"/>
                  </a:cubicBezTo>
                  <a:cubicBezTo>
                    <a:pt x="404" y="505"/>
                    <a:pt x="527" y="471"/>
                    <a:pt x="583" y="415"/>
                  </a:cubicBezTo>
                  <a:cubicBezTo>
                    <a:pt x="616" y="381"/>
                    <a:pt x="628" y="336"/>
                    <a:pt x="628" y="303"/>
                  </a:cubicBezTo>
                  <a:cubicBezTo>
                    <a:pt x="616" y="303"/>
                    <a:pt x="616" y="303"/>
                    <a:pt x="616" y="303"/>
                  </a:cubicBezTo>
                  <a:cubicBezTo>
                    <a:pt x="616" y="303"/>
                    <a:pt x="616" y="258"/>
                    <a:pt x="583" y="258"/>
                  </a:cubicBezTo>
                  <a:cubicBezTo>
                    <a:pt x="549" y="258"/>
                    <a:pt x="538" y="247"/>
                    <a:pt x="538" y="213"/>
                  </a:cubicBezTo>
                  <a:cubicBezTo>
                    <a:pt x="527" y="191"/>
                    <a:pt x="538" y="146"/>
                    <a:pt x="527" y="135"/>
                  </a:cubicBezTo>
                  <a:cubicBezTo>
                    <a:pt x="504" y="123"/>
                    <a:pt x="415" y="45"/>
                    <a:pt x="381" y="23"/>
                  </a:cubicBezTo>
                  <a:cubicBezTo>
                    <a:pt x="336" y="0"/>
                    <a:pt x="280" y="0"/>
                    <a:pt x="280" y="45"/>
                  </a:cubicBezTo>
                  <a:cubicBezTo>
                    <a:pt x="280" y="90"/>
                    <a:pt x="280" y="90"/>
                    <a:pt x="236" y="101"/>
                  </a:cubicBezTo>
                  <a:cubicBezTo>
                    <a:pt x="180" y="112"/>
                    <a:pt x="123" y="101"/>
                    <a:pt x="123" y="112"/>
                  </a:cubicBezTo>
                  <a:cubicBezTo>
                    <a:pt x="112" y="123"/>
                    <a:pt x="123" y="213"/>
                    <a:pt x="90" y="236"/>
                  </a:cubicBezTo>
                  <a:cubicBezTo>
                    <a:pt x="56" y="247"/>
                    <a:pt x="56" y="325"/>
                    <a:pt x="34" y="348"/>
                  </a:cubicBezTo>
                  <a:cubicBezTo>
                    <a:pt x="0" y="381"/>
                    <a:pt x="11" y="448"/>
                    <a:pt x="34" y="493"/>
                  </a:cubicBezTo>
                  <a:cubicBezTo>
                    <a:pt x="45" y="505"/>
                    <a:pt x="45" y="527"/>
                    <a:pt x="45" y="538"/>
                  </a:cubicBezTo>
                  <a:cubicBezTo>
                    <a:pt x="67" y="527"/>
                    <a:pt x="78" y="516"/>
                    <a:pt x="78" y="50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15"/>
            <p:cNvSpPr>
              <a:spLocks noChangeArrowheads="1"/>
            </p:cNvSpPr>
            <p:nvPr/>
          </p:nvSpPr>
          <p:spPr bwMode="auto">
            <a:xfrm>
              <a:off x="4274619" y="3054467"/>
              <a:ext cx="901901" cy="1157636"/>
            </a:xfrm>
            <a:custGeom>
              <a:avLst/>
              <a:gdLst>
                <a:gd name="T0" fmla="*/ 2600 w 2601"/>
                <a:gd name="T1" fmla="*/ 2823 h 3339"/>
                <a:gd name="T2" fmla="*/ 2454 w 2601"/>
                <a:gd name="T3" fmla="*/ 2767 h 3339"/>
                <a:gd name="T4" fmla="*/ 2376 w 2601"/>
                <a:gd name="T5" fmla="*/ 2654 h 3339"/>
                <a:gd name="T6" fmla="*/ 2319 w 2601"/>
                <a:gd name="T7" fmla="*/ 2453 h 3339"/>
                <a:gd name="T8" fmla="*/ 2252 w 2601"/>
                <a:gd name="T9" fmla="*/ 2263 h 3339"/>
                <a:gd name="T10" fmla="*/ 2241 w 2601"/>
                <a:gd name="T11" fmla="*/ 2150 h 3339"/>
                <a:gd name="T12" fmla="*/ 2140 w 2601"/>
                <a:gd name="T13" fmla="*/ 1938 h 3339"/>
                <a:gd name="T14" fmla="*/ 2017 w 2601"/>
                <a:gd name="T15" fmla="*/ 1927 h 3339"/>
                <a:gd name="T16" fmla="*/ 1905 w 2601"/>
                <a:gd name="T17" fmla="*/ 1961 h 3339"/>
                <a:gd name="T18" fmla="*/ 1827 w 2601"/>
                <a:gd name="T19" fmla="*/ 1837 h 3339"/>
                <a:gd name="T20" fmla="*/ 1770 w 2601"/>
                <a:gd name="T21" fmla="*/ 1714 h 3339"/>
                <a:gd name="T22" fmla="*/ 1703 w 2601"/>
                <a:gd name="T23" fmla="*/ 1602 h 3339"/>
                <a:gd name="T24" fmla="*/ 1614 w 2601"/>
                <a:gd name="T25" fmla="*/ 1490 h 3339"/>
                <a:gd name="T26" fmla="*/ 1513 w 2601"/>
                <a:gd name="T27" fmla="*/ 1300 h 3339"/>
                <a:gd name="T28" fmla="*/ 1468 w 2601"/>
                <a:gd name="T29" fmla="*/ 1199 h 3339"/>
                <a:gd name="T30" fmla="*/ 1513 w 2601"/>
                <a:gd name="T31" fmla="*/ 1020 h 3339"/>
                <a:gd name="T32" fmla="*/ 1591 w 2601"/>
                <a:gd name="T33" fmla="*/ 1008 h 3339"/>
                <a:gd name="T34" fmla="*/ 1513 w 2601"/>
                <a:gd name="T35" fmla="*/ 851 h 3339"/>
                <a:gd name="T36" fmla="*/ 1401 w 2601"/>
                <a:gd name="T37" fmla="*/ 717 h 3339"/>
                <a:gd name="T38" fmla="*/ 1345 w 2601"/>
                <a:gd name="T39" fmla="*/ 661 h 3339"/>
                <a:gd name="T40" fmla="*/ 1255 w 2601"/>
                <a:gd name="T41" fmla="*/ 627 h 3339"/>
                <a:gd name="T42" fmla="*/ 1031 w 2601"/>
                <a:gd name="T43" fmla="*/ 515 h 3339"/>
                <a:gd name="T44" fmla="*/ 986 w 2601"/>
                <a:gd name="T45" fmla="*/ 269 h 3339"/>
                <a:gd name="T46" fmla="*/ 986 w 2601"/>
                <a:gd name="T47" fmla="*/ 157 h 3339"/>
                <a:gd name="T48" fmla="*/ 863 w 2601"/>
                <a:gd name="T49" fmla="*/ 0 h 3339"/>
                <a:gd name="T50" fmla="*/ 571 w 2601"/>
                <a:gd name="T51" fmla="*/ 235 h 3339"/>
                <a:gd name="T52" fmla="*/ 437 w 2601"/>
                <a:gd name="T53" fmla="*/ 313 h 3339"/>
                <a:gd name="T54" fmla="*/ 258 w 2601"/>
                <a:gd name="T55" fmla="*/ 437 h 3339"/>
                <a:gd name="T56" fmla="*/ 224 w 2601"/>
                <a:gd name="T57" fmla="*/ 470 h 3339"/>
                <a:gd name="T58" fmla="*/ 269 w 2601"/>
                <a:gd name="T59" fmla="*/ 605 h 3339"/>
                <a:gd name="T60" fmla="*/ 179 w 2601"/>
                <a:gd name="T61" fmla="*/ 493 h 3339"/>
                <a:gd name="T62" fmla="*/ 101 w 2601"/>
                <a:gd name="T63" fmla="*/ 638 h 3339"/>
                <a:gd name="T64" fmla="*/ 22 w 2601"/>
                <a:gd name="T65" fmla="*/ 751 h 3339"/>
                <a:gd name="T66" fmla="*/ 33 w 2601"/>
                <a:gd name="T67" fmla="*/ 806 h 3339"/>
                <a:gd name="T68" fmla="*/ 33 w 2601"/>
                <a:gd name="T69" fmla="*/ 896 h 3339"/>
                <a:gd name="T70" fmla="*/ 112 w 2601"/>
                <a:gd name="T71" fmla="*/ 941 h 3339"/>
                <a:gd name="T72" fmla="*/ 414 w 2601"/>
                <a:gd name="T73" fmla="*/ 1131 h 3339"/>
                <a:gd name="T74" fmla="*/ 448 w 2601"/>
                <a:gd name="T75" fmla="*/ 1064 h 3339"/>
                <a:gd name="T76" fmla="*/ 538 w 2601"/>
                <a:gd name="T77" fmla="*/ 1210 h 3339"/>
                <a:gd name="T78" fmla="*/ 717 w 2601"/>
                <a:gd name="T79" fmla="*/ 1356 h 3339"/>
                <a:gd name="T80" fmla="*/ 796 w 2601"/>
                <a:gd name="T81" fmla="*/ 1389 h 3339"/>
                <a:gd name="T82" fmla="*/ 1019 w 2601"/>
                <a:gd name="T83" fmla="*/ 1714 h 3339"/>
                <a:gd name="T84" fmla="*/ 1165 w 2601"/>
                <a:gd name="T85" fmla="*/ 1871 h 3339"/>
                <a:gd name="T86" fmla="*/ 1277 w 2601"/>
                <a:gd name="T87" fmla="*/ 1860 h 3339"/>
                <a:gd name="T88" fmla="*/ 1456 w 2601"/>
                <a:gd name="T89" fmla="*/ 2083 h 3339"/>
                <a:gd name="T90" fmla="*/ 1614 w 2601"/>
                <a:gd name="T91" fmla="*/ 2296 h 3339"/>
                <a:gd name="T92" fmla="*/ 1871 w 2601"/>
                <a:gd name="T93" fmla="*/ 2643 h 3339"/>
                <a:gd name="T94" fmla="*/ 2062 w 2601"/>
                <a:gd name="T95" fmla="*/ 2901 h 3339"/>
                <a:gd name="T96" fmla="*/ 2196 w 2601"/>
                <a:gd name="T97" fmla="*/ 3058 h 3339"/>
                <a:gd name="T98" fmla="*/ 2308 w 2601"/>
                <a:gd name="T99" fmla="*/ 3294 h 3339"/>
                <a:gd name="T100" fmla="*/ 2342 w 2601"/>
                <a:gd name="T101" fmla="*/ 3103 h 3339"/>
                <a:gd name="T102" fmla="*/ 2409 w 2601"/>
                <a:gd name="T103" fmla="*/ 3181 h 3339"/>
                <a:gd name="T104" fmla="*/ 2532 w 2601"/>
                <a:gd name="T105" fmla="*/ 3204 h 3339"/>
                <a:gd name="T106" fmla="*/ 2499 w 2601"/>
                <a:gd name="T107" fmla="*/ 3025 h 3339"/>
                <a:gd name="T108" fmla="*/ 2555 w 2601"/>
                <a:gd name="T109" fmla="*/ 2856 h 3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01" h="3339">
                  <a:moveTo>
                    <a:pt x="2600" y="2823"/>
                  </a:moveTo>
                  <a:lnTo>
                    <a:pt x="2600" y="2823"/>
                  </a:lnTo>
                  <a:cubicBezTo>
                    <a:pt x="2589" y="2800"/>
                    <a:pt x="2566" y="2767"/>
                    <a:pt x="2521" y="2778"/>
                  </a:cubicBezTo>
                  <a:cubicBezTo>
                    <a:pt x="2476" y="2778"/>
                    <a:pt x="2476" y="2789"/>
                    <a:pt x="2454" y="2767"/>
                  </a:cubicBezTo>
                  <a:cubicBezTo>
                    <a:pt x="2443" y="2756"/>
                    <a:pt x="2443" y="2711"/>
                    <a:pt x="2443" y="2688"/>
                  </a:cubicBezTo>
                  <a:cubicBezTo>
                    <a:pt x="2443" y="2677"/>
                    <a:pt x="2387" y="2688"/>
                    <a:pt x="2376" y="2654"/>
                  </a:cubicBezTo>
                  <a:cubicBezTo>
                    <a:pt x="2364" y="2610"/>
                    <a:pt x="2376" y="2576"/>
                    <a:pt x="2376" y="2543"/>
                  </a:cubicBezTo>
                  <a:cubicBezTo>
                    <a:pt x="2376" y="2509"/>
                    <a:pt x="2331" y="2475"/>
                    <a:pt x="2319" y="2453"/>
                  </a:cubicBezTo>
                  <a:cubicBezTo>
                    <a:pt x="2297" y="2430"/>
                    <a:pt x="2275" y="2487"/>
                    <a:pt x="2263" y="2453"/>
                  </a:cubicBezTo>
                  <a:cubicBezTo>
                    <a:pt x="2252" y="2419"/>
                    <a:pt x="2252" y="2307"/>
                    <a:pt x="2252" y="2263"/>
                  </a:cubicBezTo>
                  <a:cubicBezTo>
                    <a:pt x="2252" y="2218"/>
                    <a:pt x="2297" y="2229"/>
                    <a:pt x="2297" y="2206"/>
                  </a:cubicBezTo>
                  <a:cubicBezTo>
                    <a:pt x="2308" y="2195"/>
                    <a:pt x="2286" y="2184"/>
                    <a:pt x="2241" y="2150"/>
                  </a:cubicBezTo>
                  <a:cubicBezTo>
                    <a:pt x="2207" y="2117"/>
                    <a:pt x="2207" y="2028"/>
                    <a:pt x="2207" y="1995"/>
                  </a:cubicBezTo>
                  <a:cubicBezTo>
                    <a:pt x="2196" y="1961"/>
                    <a:pt x="2163" y="1950"/>
                    <a:pt x="2140" y="1938"/>
                  </a:cubicBezTo>
                  <a:cubicBezTo>
                    <a:pt x="2107" y="1927"/>
                    <a:pt x="2073" y="1893"/>
                    <a:pt x="2062" y="1893"/>
                  </a:cubicBezTo>
                  <a:cubicBezTo>
                    <a:pt x="2039" y="1893"/>
                    <a:pt x="2039" y="1905"/>
                    <a:pt x="2017" y="1927"/>
                  </a:cubicBezTo>
                  <a:cubicBezTo>
                    <a:pt x="1983" y="1938"/>
                    <a:pt x="1994" y="1950"/>
                    <a:pt x="1961" y="1961"/>
                  </a:cubicBezTo>
                  <a:cubicBezTo>
                    <a:pt x="1938" y="1983"/>
                    <a:pt x="1916" y="1972"/>
                    <a:pt x="1905" y="1961"/>
                  </a:cubicBezTo>
                  <a:cubicBezTo>
                    <a:pt x="1894" y="1950"/>
                    <a:pt x="1883" y="1938"/>
                    <a:pt x="1849" y="1938"/>
                  </a:cubicBezTo>
                  <a:cubicBezTo>
                    <a:pt x="1827" y="1938"/>
                    <a:pt x="1827" y="1882"/>
                    <a:pt x="1827" y="1837"/>
                  </a:cubicBezTo>
                  <a:cubicBezTo>
                    <a:pt x="1827" y="1804"/>
                    <a:pt x="1815" y="1804"/>
                    <a:pt x="1793" y="1793"/>
                  </a:cubicBezTo>
                  <a:cubicBezTo>
                    <a:pt x="1770" y="1770"/>
                    <a:pt x="1804" y="1726"/>
                    <a:pt x="1770" y="1714"/>
                  </a:cubicBezTo>
                  <a:cubicBezTo>
                    <a:pt x="1737" y="1703"/>
                    <a:pt x="1759" y="1681"/>
                    <a:pt x="1748" y="1647"/>
                  </a:cubicBezTo>
                  <a:cubicBezTo>
                    <a:pt x="1737" y="1613"/>
                    <a:pt x="1737" y="1602"/>
                    <a:pt x="1703" y="1602"/>
                  </a:cubicBezTo>
                  <a:cubicBezTo>
                    <a:pt x="1669" y="1591"/>
                    <a:pt x="1669" y="1569"/>
                    <a:pt x="1658" y="1546"/>
                  </a:cubicBezTo>
                  <a:cubicBezTo>
                    <a:pt x="1658" y="1524"/>
                    <a:pt x="1625" y="1524"/>
                    <a:pt x="1614" y="1490"/>
                  </a:cubicBezTo>
                  <a:cubicBezTo>
                    <a:pt x="1602" y="1468"/>
                    <a:pt x="1535" y="1479"/>
                    <a:pt x="1524" y="1468"/>
                  </a:cubicBezTo>
                  <a:cubicBezTo>
                    <a:pt x="1513" y="1468"/>
                    <a:pt x="1513" y="1356"/>
                    <a:pt x="1513" y="1300"/>
                  </a:cubicBezTo>
                  <a:cubicBezTo>
                    <a:pt x="1501" y="1255"/>
                    <a:pt x="1513" y="1255"/>
                    <a:pt x="1468" y="1266"/>
                  </a:cubicBezTo>
                  <a:cubicBezTo>
                    <a:pt x="1423" y="1266"/>
                    <a:pt x="1434" y="1221"/>
                    <a:pt x="1468" y="1199"/>
                  </a:cubicBezTo>
                  <a:cubicBezTo>
                    <a:pt x="1501" y="1176"/>
                    <a:pt x="1490" y="1154"/>
                    <a:pt x="1479" y="1109"/>
                  </a:cubicBezTo>
                  <a:cubicBezTo>
                    <a:pt x="1468" y="1075"/>
                    <a:pt x="1468" y="1031"/>
                    <a:pt x="1513" y="1020"/>
                  </a:cubicBezTo>
                  <a:cubicBezTo>
                    <a:pt x="1546" y="1008"/>
                    <a:pt x="1569" y="1008"/>
                    <a:pt x="1580" y="1008"/>
                  </a:cubicBezTo>
                  <a:cubicBezTo>
                    <a:pt x="1591" y="1008"/>
                    <a:pt x="1591" y="1008"/>
                    <a:pt x="1591" y="1008"/>
                  </a:cubicBezTo>
                  <a:cubicBezTo>
                    <a:pt x="1591" y="1008"/>
                    <a:pt x="1591" y="986"/>
                    <a:pt x="1580" y="941"/>
                  </a:cubicBezTo>
                  <a:cubicBezTo>
                    <a:pt x="1569" y="896"/>
                    <a:pt x="1535" y="874"/>
                    <a:pt x="1513" y="851"/>
                  </a:cubicBezTo>
                  <a:cubicBezTo>
                    <a:pt x="1501" y="829"/>
                    <a:pt x="1501" y="840"/>
                    <a:pt x="1468" y="829"/>
                  </a:cubicBezTo>
                  <a:cubicBezTo>
                    <a:pt x="1434" y="829"/>
                    <a:pt x="1412" y="762"/>
                    <a:pt x="1401" y="717"/>
                  </a:cubicBezTo>
                  <a:cubicBezTo>
                    <a:pt x="1401" y="672"/>
                    <a:pt x="1401" y="672"/>
                    <a:pt x="1378" y="672"/>
                  </a:cubicBezTo>
                  <a:cubicBezTo>
                    <a:pt x="1356" y="683"/>
                    <a:pt x="1345" y="683"/>
                    <a:pt x="1345" y="661"/>
                  </a:cubicBezTo>
                  <a:cubicBezTo>
                    <a:pt x="1333" y="638"/>
                    <a:pt x="1333" y="627"/>
                    <a:pt x="1311" y="627"/>
                  </a:cubicBezTo>
                  <a:cubicBezTo>
                    <a:pt x="1277" y="627"/>
                    <a:pt x="1266" y="638"/>
                    <a:pt x="1255" y="627"/>
                  </a:cubicBezTo>
                  <a:cubicBezTo>
                    <a:pt x="1244" y="616"/>
                    <a:pt x="1109" y="616"/>
                    <a:pt x="1109" y="616"/>
                  </a:cubicBezTo>
                  <a:cubicBezTo>
                    <a:pt x="1109" y="616"/>
                    <a:pt x="1064" y="549"/>
                    <a:pt x="1031" y="515"/>
                  </a:cubicBezTo>
                  <a:cubicBezTo>
                    <a:pt x="997" y="482"/>
                    <a:pt x="997" y="448"/>
                    <a:pt x="997" y="392"/>
                  </a:cubicBezTo>
                  <a:cubicBezTo>
                    <a:pt x="997" y="347"/>
                    <a:pt x="1008" y="280"/>
                    <a:pt x="986" y="269"/>
                  </a:cubicBezTo>
                  <a:cubicBezTo>
                    <a:pt x="963" y="269"/>
                    <a:pt x="952" y="257"/>
                    <a:pt x="963" y="246"/>
                  </a:cubicBezTo>
                  <a:cubicBezTo>
                    <a:pt x="974" y="235"/>
                    <a:pt x="986" y="190"/>
                    <a:pt x="986" y="157"/>
                  </a:cubicBezTo>
                  <a:cubicBezTo>
                    <a:pt x="986" y="123"/>
                    <a:pt x="941" y="89"/>
                    <a:pt x="896" y="78"/>
                  </a:cubicBezTo>
                  <a:cubicBezTo>
                    <a:pt x="851" y="78"/>
                    <a:pt x="863" y="0"/>
                    <a:pt x="863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71" y="235"/>
                    <a:pt x="571" y="235"/>
                    <a:pt x="571" y="235"/>
                  </a:cubicBezTo>
                  <a:cubicBezTo>
                    <a:pt x="437" y="313"/>
                    <a:pt x="437" y="313"/>
                    <a:pt x="437" y="313"/>
                  </a:cubicBezTo>
                  <a:lnTo>
                    <a:pt x="437" y="313"/>
                  </a:lnTo>
                  <a:cubicBezTo>
                    <a:pt x="437" y="369"/>
                    <a:pt x="437" y="369"/>
                    <a:pt x="437" y="369"/>
                  </a:cubicBezTo>
                  <a:cubicBezTo>
                    <a:pt x="258" y="437"/>
                    <a:pt x="258" y="437"/>
                    <a:pt x="258" y="437"/>
                  </a:cubicBezTo>
                  <a:cubicBezTo>
                    <a:pt x="190" y="426"/>
                    <a:pt x="190" y="426"/>
                    <a:pt x="190" y="426"/>
                  </a:cubicBezTo>
                  <a:cubicBezTo>
                    <a:pt x="201" y="459"/>
                    <a:pt x="213" y="470"/>
                    <a:pt x="224" y="470"/>
                  </a:cubicBezTo>
                  <a:cubicBezTo>
                    <a:pt x="246" y="459"/>
                    <a:pt x="269" y="482"/>
                    <a:pt x="258" y="515"/>
                  </a:cubicBezTo>
                  <a:cubicBezTo>
                    <a:pt x="246" y="549"/>
                    <a:pt x="246" y="582"/>
                    <a:pt x="269" y="605"/>
                  </a:cubicBezTo>
                  <a:cubicBezTo>
                    <a:pt x="280" y="616"/>
                    <a:pt x="213" y="627"/>
                    <a:pt x="213" y="571"/>
                  </a:cubicBezTo>
                  <a:cubicBezTo>
                    <a:pt x="213" y="515"/>
                    <a:pt x="201" y="493"/>
                    <a:pt x="179" y="493"/>
                  </a:cubicBezTo>
                  <a:cubicBezTo>
                    <a:pt x="168" y="493"/>
                    <a:pt x="168" y="560"/>
                    <a:pt x="145" y="571"/>
                  </a:cubicBezTo>
                  <a:cubicBezTo>
                    <a:pt x="112" y="582"/>
                    <a:pt x="101" y="616"/>
                    <a:pt x="101" y="638"/>
                  </a:cubicBezTo>
                  <a:cubicBezTo>
                    <a:pt x="101" y="661"/>
                    <a:pt x="78" y="661"/>
                    <a:pt x="45" y="672"/>
                  </a:cubicBezTo>
                  <a:cubicBezTo>
                    <a:pt x="22" y="683"/>
                    <a:pt x="0" y="739"/>
                    <a:pt x="22" y="751"/>
                  </a:cubicBezTo>
                  <a:cubicBezTo>
                    <a:pt x="33" y="751"/>
                    <a:pt x="45" y="728"/>
                    <a:pt x="56" y="751"/>
                  </a:cubicBezTo>
                  <a:cubicBezTo>
                    <a:pt x="67" y="762"/>
                    <a:pt x="56" y="795"/>
                    <a:pt x="33" y="806"/>
                  </a:cubicBezTo>
                  <a:cubicBezTo>
                    <a:pt x="0" y="818"/>
                    <a:pt x="11" y="840"/>
                    <a:pt x="33" y="840"/>
                  </a:cubicBezTo>
                  <a:cubicBezTo>
                    <a:pt x="56" y="851"/>
                    <a:pt x="56" y="885"/>
                    <a:pt x="33" y="896"/>
                  </a:cubicBezTo>
                  <a:cubicBezTo>
                    <a:pt x="0" y="907"/>
                    <a:pt x="22" y="941"/>
                    <a:pt x="45" y="941"/>
                  </a:cubicBezTo>
                  <a:cubicBezTo>
                    <a:pt x="78" y="941"/>
                    <a:pt x="89" y="919"/>
                    <a:pt x="112" y="941"/>
                  </a:cubicBezTo>
                  <a:cubicBezTo>
                    <a:pt x="145" y="975"/>
                    <a:pt x="314" y="1053"/>
                    <a:pt x="358" y="1087"/>
                  </a:cubicBezTo>
                  <a:cubicBezTo>
                    <a:pt x="392" y="1109"/>
                    <a:pt x="403" y="1131"/>
                    <a:pt x="414" y="1131"/>
                  </a:cubicBezTo>
                  <a:cubicBezTo>
                    <a:pt x="425" y="1120"/>
                    <a:pt x="403" y="1064"/>
                    <a:pt x="392" y="1042"/>
                  </a:cubicBezTo>
                  <a:cubicBezTo>
                    <a:pt x="392" y="1020"/>
                    <a:pt x="437" y="1020"/>
                    <a:pt x="448" y="1064"/>
                  </a:cubicBezTo>
                  <a:cubicBezTo>
                    <a:pt x="470" y="1109"/>
                    <a:pt x="470" y="1143"/>
                    <a:pt x="470" y="1165"/>
                  </a:cubicBezTo>
                  <a:cubicBezTo>
                    <a:pt x="470" y="1188"/>
                    <a:pt x="493" y="1210"/>
                    <a:pt x="538" y="1210"/>
                  </a:cubicBezTo>
                  <a:cubicBezTo>
                    <a:pt x="583" y="1210"/>
                    <a:pt x="638" y="1233"/>
                    <a:pt x="661" y="1244"/>
                  </a:cubicBezTo>
                  <a:cubicBezTo>
                    <a:pt x="683" y="1266"/>
                    <a:pt x="706" y="1356"/>
                    <a:pt x="717" y="1356"/>
                  </a:cubicBezTo>
                  <a:cubicBezTo>
                    <a:pt x="728" y="1356"/>
                    <a:pt x="683" y="1277"/>
                    <a:pt x="706" y="1266"/>
                  </a:cubicBezTo>
                  <a:cubicBezTo>
                    <a:pt x="739" y="1244"/>
                    <a:pt x="784" y="1322"/>
                    <a:pt x="796" y="1389"/>
                  </a:cubicBezTo>
                  <a:cubicBezTo>
                    <a:pt x="807" y="1445"/>
                    <a:pt x="807" y="1524"/>
                    <a:pt x="840" y="1557"/>
                  </a:cubicBezTo>
                  <a:cubicBezTo>
                    <a:pt x="885" y="1602"/>
                    <a:pt x="974" y="1669"/>
                    <a:pt x="1019" y="1714"/>
                  </a:cubicBezTo>
                  <a:cubicBezTo>
                    <a:pt x="1064" y="1759"/>
                    <a:pt x="1087" y="1826"/>
                    <a:pt x="1120" y="1871"/>
                  </a:cubicBezTo>
                  <a:cubicBezTo>
                    <a:pt x="1165" y="1905"/>
                    <a:pt x="1165" y="1905"/>
                    <a:pt x="1165" y="1871"/>
                  </a:cubicBezTo>
                  <a:cubicBezTo>
                    <a:pt x="1154" y="1826"/>
                    <a:pt x="1154" y="1770"/>
                    <a:pt x="1188" y="1759"/>
                  </a:cubicBezTo>
                  <a:cubicBezTo>
                    <a:pt x="1221" y="1748"/>
                    <a:pt x="1255" y="1815"/>
                    <a:pt x="1277" y="1860"/>
                  </a:cubicBezTo>
                  <a:cubicBezTo>
                    <a:pt x="1289" y="1916"/>
                    <a:pt x="1322" y="1995"/>
                    <a:pt x="1367" y="2006"/>
                  </a:cubicBezTo>
                  <a:cubicBezTo>
                    <a:pt x="1412" y="2006"/>
                    <a:pt x="1445" y="2017"/>
                    <a:pt x="1456" y="2083"/>
                  </a:cubicBezTo>
                  <a:cubicBezTo>
                    <a:pt x="1456" y="2150"/>
                    <a:pt x="1490" y="2218"/>
                    <a:pt x="1524" y="2218"/>
                  </a:cubicBezTo>
                  <a:cubicBezTo>
                    <a:pt x="1558" y="2218"/>
                    <a:pt x="1591" y="2229"/>
                    <a:pt x="1614" y="2296"/>
                  </a:cubicBezTo>
                  <a:cubicBezTo>
                    <a:pt x="1636" y="2363"/>
                    <a:pt x="1692" y="2520"/>
                    <a:pt x="1748" y="2554"/>
                  </a:cubicBezTo>
                  <a:cubicBezTo>
                    <a:pt x="1793" y="2599"/>
                    <a:pt x="1871" y="2610"/>
                    <a:pt x="1871" y="2643"/>
                  </a:cubicBezTo>
                  <a:cubicBezTo>
                    <a:pt x="1883" y="2677"/>
                    <a:pt x="1883" y="2733"/>
                    <a:pt x="1938" y="2767"/>
                  </a:cubicBezTo>
                  <a:cubicBezTo>
                    <a:pt x="2006" y="2800"/>
                    <a:pt x="2062" y="2879"/>
                    <a:pt x="2062" y="2901"/>
                  </a:cubicBezTo>
                  <a:cubicBezTo>
                    <a:pt x="2073" y="2923"/>
                    <a:pt x="2084" y="2991"/>
                    <a:pt x="2129" y="3002"/>
                  </a:cubicBezTo>
                  <a:cubicBezTo>
                    <a:pt x="2174" y="3013"/>
                    <a:pt x="2185" y="3002"/>
                    <a:pt x="2196" y="3058"/>
                  </a:cubicBezTo>
                  <a:cubicBezTo>
                    <a:pt x="2219" y="3103"/>
                    <a:pt x="2275" y="3181"/>
                    <a:pt x="2286" y="3192"/>
                  </a:cubicBezTo>
                  <a:cubicBezTo>
                    <a:pt x="2297" y="3215"/>
                    <a:pt x="2308" y="3260"/>
                    <a:pt x="2308" y="3294"/>
                  </a:cubicBezTo>
                  <a:cubicBezTo>
                    <a:pt x="2319" y="3327"/>
                    <a:pt x="2353" y="3338"/>
                    <a:pt x="2353" y="3305"/>
                  </a:cubicBezTo>
                  <a:cubicBezTo>
                    <a:pt x="2353" y="3271"/>
                    <a:pt x="2331" y="3159"/>
                    <a:pt x="2342" y="3103"/>
                  </a:cubicBezTo>
                  <a:cubicBezTo>
                    <a:pt x="2342" y="3047"/>
                    <a:pt x="2364" y="3013"/>
                    <a:pt x="2387" y="3069"/>
                  </a:cubicBezTo>
                  <a:cubicBezTo>
                    <a:pt x="2409" y="3114"/>
                    <a:pt x="2420" y="3148"/>
                    <a:pt x="2409" y="3181"/>
                  </a:cubicBezTo>
                  <a:cubicBezTo>
                    <a:pt x="2409" y="3181"/>
                    <a:pt x="2443" y="3181"/>
                    <a:pt x="2476" y="3204"/>
                  </a:cubicBezTo>
                  <a:cubicBezTo>
                    <a:pt x="2510" y="3226"/>
                    <a:pt x="2521" y="3226"/>
                    <a:pt x="2532" y="3204"/>
                  </a:cubicBezTo>
                  <a:cubicBezTo>
                    <a:pt x="2555" y="3192"/>
                    <a:pt x="2532" y="3125"/>
                    <a:pt x="2510" y="3103"/>
                  </a:cubicBezTo>
                  <a:cubicBezTo>
                    <a:pt x="2499" y="3092"/>
                    <a:pt x="2488" y="3058"/>
                    <a:pt x="2499" y="3025"/>
                  </a:cubicBezTo>
                  <a:cubicBezTo>
                    <a:pt x="2510" y="3002"/>
                    <a:pt x="2521" y="2957"/>
                    <a:pt x="2510" y="2923"/>
                  </a:cubicBezTo>
                  <a:cubicBezTo>
                    <a:pt x="2510" y="2890"/>
                    <a:pt x="2521" y="2867"/>
                    <a:pt x="2555" y="2856"/>
                  </a:cubicBezTo>
                  <a:cubicBezTo>
                    <a:pt x="2577" y="2856"/>
                    <a:pt x="2600" y="2845"/>
                    <a:pt x="2600" y="282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16"/>
            <p:cNvSpPr>
              <a:spLocks noChangeArrowheads="1"/>
            </p:cNvSpPr>
            <p:nvPr/>
          </p:nvSpPr>
          <p:spPr bwMode="auto">
            <a:xfrm>
              <a:off x="4766843" y="3112578"/>
              <a:ext cx="1076167" cy="1091879"/>
            </a:xfrm>
            <a:custGeom>
              <a:avLst/>
              <a:gdLst>
                <a:gd name="T0" fmla="*/ 3026 w 3105"/>
                <a:gd name="T1" fmla="*/ 1569 h 3149"/>
                <a:gd name="T2" fmla="*/ 2970 w 3105"/>
                <a:gd name="T3" fmla="*/ 1356 h 3149"/>
                <a:gd name="T4" fmla="*/ 2880 w 3105"/>
                <a:gd name="T5" fmla="*/ 1389 h 3149"/>
                <a:gd name="T6" fmla="*/ 2701 w 3105"/>
                <a:gd name="T7" fmla="*/ 1434 h 3149"/>
                <a:gd name="T8" fmla="*/ 2488 w 3105"/>
                <a:gd name="T9" fmla="*/ 1210 h 3149"/>
                <a:gd name="T10" fmla="*/ 2443 w 3105"/>
                <a:gd name="T11" fmla="*/ 1065 h 3149"/>
                <a:gd name="T12" fmla="*/ 2454 w 3105"/>
                <a:gd name="T13" fmla="*/ 952 h 3149"/>
                <a:gd name="T14" fmla="*/ 2533 w 3105"/>
                <a:gd name="T15" fmla="*/ 796 h 3149"/>
                <a:gd name="T16" fmla="*/ 2510 w 3105"/>
                <a:gd name="T17" fmla="*/ 571 h 3149"/>
                <a:gd name="T18" fmla="*/ 2578 w 3105"/>
                <a:gd name="T19" fmla="*/ 425 h 3149"/>
                <a:gd name="T20" fmla="*/ 2286 w 3105"/>
                <a:gd name="T21" fmla="*/ 112 h 3149"/>
                <a:gd name="T22" fmla="*/ 1793 w 3105"/>
                <a:gd name="T23" fmla="*/ 246 h 3149"/>
                <a:gd name="T24" fmla="*/ 1681 w 3105"/>
                <a:gd name="T25" fmla="*/ 358 h 3149"/>
                <a:gd name="T26" fmla="*/ 1446 w 3105"/>
                <a:gd name="T27" fmla="*/ 302 h 3149"/>
                <a:gd name="T28" fmla="*/ 1367 w 3105"/>
                <a:gd name="T29" fmla="*/ 347 h 3149"/>
                <a:gd name="T30" fmla="*/ 1132 w 3105"/>
                <a:gd name="T31" fmla="*/ 201 h 3149"/>
                <a:gd name="T32" fmla="*/ 1031 w 3105"/>
                <a:gd name="T33" fmla="*/ 157 h 3149"/>
                <a:gd name="T34" fmla="*/ 863 w 3105"/>
                <a:gd name="T35" fmla="*/ 45 h 3149"/>
                <a:gd name="T36" fmla="*/ 706 w 3105"/>
                <a:gd name="T37" fmla="*/ 123 h 3149"/>
                <a:gd name="T38" fmla="*/ 639 w 3105"/>
                <a:gd name="T39" fmla="*/ 336 h 3149"/>
                <a:gd name="T40" fmla="*/ 515 w 3105"/>
                <a:gd name="T41" fmla="*/ 594 h 3149"/>
                <a:gd name="T42" fmla="*/ 460 w 3105"/>
                <a:gd name="T43" fmla="*/ 829 h 3149"/>
                <a:gd name="T44" fmla="*/ 258 w 3105"/>
                <a:gd name="T45" fmla="*/ 874 h 3149"/>
                <a:gd name="T46" fmla="*/ 157 w 3105"/>
                <a:gd name="T47" fmla="*/ 840 h 3149"/>
                <a:gd name="T48" fmla="*/ 168 w 3105"/>
                <a:gd name="T49" fmla="*/ 840 h 3149"/>
                <a:gd name="T50" fmla="*/ 56 w 3105"/>
                <a:gd name="T51" fmla="*/ 941 h 3149"/>
                <a:gd name="T52" fmla="*/ 45 w 3105"/>
                <a:gd name="T53" fmla="*/ 1098 h 3149"/>
                <a:gd name="T54" fmla="*/ 101 w 3105"/>
                <a:gd name="T55" fmla="*/ 1300 h 3149"/>
                <a:gd name="T56" fmla="*/ 235 w 3105"/>
                <a:gd name="T57" fmla="*/ 1378 h 3149"/>
                <a:gd name="T58" fmla="*/ 325 w 3105"/>
                <a:gd name="T59" fmla="*/ 1479 h 3149"/>
                <a:gd name="T60" fmla="*/ 370 w 3105"/>
                <a:gd name="T61" fmla="*/ 1625 h 3149"/>
                <a:gd name="T62" fmla="*/ 426 w 3105"/>
                <a:gd name="T63" fmla="*/ 1770 h 3149"/>
                <a:gd name="T64" fmla="*/ 538 w 3105"/>
                <a:gd name="T65" fmla="*/ 1793 h 3149"/>
                <a:gd name="T66" fmla="*/ 639 w 3105"/>
                <a:gd name="T67" fmla="*/ 1725 h 3149"/>
                <a:gd name="T68" fmla="*/ 784 w 3105"/>
                <a:gd name="T69" fmla="*/ 1827 h 3149"/>
                <a:gd name="T70" fmla="*/ 874 w 3105"/>
                <a:gd name="T71" fmla="*/ 2038 h 3149"/>
                <a:gd name="T72" fmla="*/ 840 w 3105"/>
                <a:gd name="T73" fmla="*/ 2285 h 3149"/>
                <a:gd name="T74" fmla="*/ 953 w 3105"/>
                <a:gd name="T75" fmla="*/ 2375 h 3149"/>
                <a:gd name="T76" fmla="*/ 1020 w 3105"/>
                <a:gd name="T77" fmla="*/ 2520 h 3149"/>
                <a:gd name="T78" fmla="*/ 1098 w 3105"/>
                <a:gd name="T79" fmla="*/ 2610 h 3149"/>
                <a:gd name="T80" fmla="*/ 1166 w 3105"/>
                <a:gd name="T81" fmla="*/ 2666 h 3149"/>
                <a:gd name="T82" fmla="*/ 1222 w 3105"/>
                <a:gd name="T83" fmla="*/ 2733 h 3149"/>
                <a:gd name="T84" fmla="*/ 1435 w 3105"/>
                <a:gd name="T85" fmla="*/ 2845 h 3149"/>
                <a:gd name="T86" fmla="*/ 1367 w 3105"/>
                <a:gd name="T87" fmla="*/ 2957 h 3149"/>
                <a:gd name="T88" fmla="*/ 1457 w 3105"/>
                <a:gd name="T89" fmla="*/ 3058 h 3149"/>
                <a:gd name="T90" fmla="*/ 1569 w 3105"/>
                <a:gd name="T91" fmla="*/ 3002 h 3149"/>
                <a:gd name="T92" fmla="*/ 1636 w 3105"/>
                <a:gd name="T93" fmla="*/ 3114 h 3149"/>
                <a:gd name="T94" fmla="*/ 1860 w 3105"/>
                <a:gd name="T95" fmla="*/ 3137 h 3149"/>
                <a:gd name="T96" fmla="*/ 1894 w 3105"/>
                <a:gd name="T97" fmla="*/ 2935 h 3149"/>
                <a:gd name="T98" fmla="*/ 1995 w 3105"/>
                <a:gd name="T99" fmla="*/ 2845 h 3149"/>
                <a:gd name="T100" fmla="*/ 1939 w 3105"/>
                <a:gd name="T101" fmla="*/ 2677 h 3149"/>
                <a:gd name="T102" fmla="*/ 1995 w 3105"/>
                <a:gd name="T103" fmla="*/ 2554 h 3149"/>
                <a:gd name="T104" fmla="*/ 2107 w 3105"/>
                <a:gd name="T105" fmla="*/ 2375 h 3149"/>
                <a:gd name="T106" fmla="*/ 2197 w 3105"/>
                <a:gd name="T107" fmla="*/ 2251 h 3149"/>
                <a:gd name="T108" fmla="*/ 2185 w 3105"/>
                <a:gd name="T109" fmla="*/ 2016 h 3149"/>
                <a:gd name="T110" fmla="*/ 2320 w 3105"/>
                <a:gd name="T111" fmla="*/ 1949 h 3149"/>
                <a:gd name="T112" fmla="*/ 2421 w 3105"/>
                <a:gd name="T113" fmla="*/ 1815 h 3149"/>
                <a:gd name="T114" fmla="*/ 2578 w 3105"/>
                <a:gd name="T115" fmla="*/ 1737 h 3149"/>
                <a:gd name="T116" fmla="*/ 2746 w 3105"/>
                <a:gd name="T117" fmla="*/ 1703 h 3149"/>
                <a:gd name="T118" fmla="*/ 2925 w 3105"/>
                <a:gd name="T119" fmla="*/ 1782 h 3149"/>
                <a:gd name="T120" fmla="*/ 3082 w 3105"/>
                <a:gd name="T121" fmla="*/ 1725 h 3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05" h="3149">
                  <a:moveTo>
                    <a:pt x="3026" y="1569"/>
                  </a:moveTo>
                  <a:lnTo>
                    <a:pt x="3026" y="1569"/>
                  </a:lnTo>
                  <a:cubicBezTo>
                    <a:pt x="3004" y="1558"/>
                    <a:pt x="3015" y="1524"/>
                    <a:pt x="3026" y="1445"/>
                  </a:cubicBezTo>
                  <a:cubicBezTo>
                    <a:pt x="3037" y="1356"/>
                    <a:pt x="3004" y="1367"/>
                    <a:pt x="2970" y="1356"/>
                  </a:cubicBezTo>
                  <a:cubicBezTo>
                    <a:pt x="2947" y="1345"/>
                    <a:pt x="2936" y="1322"/>
                    <a:pt x="2925" y="1300"/>
                  </a:cubicBezTo>
                  <a:cubicBezTo>
                    <a:pt x="2914" y="1322"/>
                    <a:pt x="2891" y="1356"/>
                    <a:pt x="2880" y="1389"/>
                  </a:cubicBezTo>
                  <a:cubicBezTo>
                    <a:pt x="2869" y="1445"/>
                    <a:pt x="2858" y="1501"/>
                    <a:pt x="2813" y="1513"/>
                  </a:cubicBezTo>
                  <a:cubicBezTo>
                    <a:pt x="2757" y="1535"/>
                    <a:pt x="2746" y="1434"/>
                    <a:pt x="2701" y="1434"/>
                  </a:cubicBezTo>
                  <a:cubicBezTo>
                    <a:pt x="2645" y="1434"/>
                    <a:pt x="2611" y="1423"/>
                    <a:pt x="2555" y="1378"/>
                  </a:cubicBezTo>
                  <a:cubicBezTo>
                    <a:pt x="2499" y="1322"/>
                    <a:pt x="2488" y="1232"/>
                    <a:pt x="2488" y="1210"/>
                  </a:cubicBezTo>
                  <a:cubicBezTo>
                    <a:pt x="2477" y="1176"/>
                    <a:pt x="2443" y="1199"/>
                    <a:pt x="2432" y="1188"/>
                  </a:cubicBezTo>
                  <a:cubicBezTo>
                    <a:pt x="2421" y="1176"/>
                    <a:pt x="2421" y="1087"/>
                    <a:pt x="2443" y="1065"/>
                  </a:cubicBezTo>
                  <a:cubicBezTo>
                    <a:pt x="2454" y="1053"/>
                    <a:pt x="2477" y="1042"/>
                    <a:pt x="2466" y="1031"/>
                  </a:cubicBezTo>
                  <a:cubicBezTo>
                    <a:pt x="2454" y="1031"/>
                    <a:pt x="2466" y="997"/>
                    <a:pt x="2454" y="952"/>
                  </a:cubicBezTo>
                  <a:cubicBezTo>
                    <a:pt x="2443" y="907"/>
                    <a:pt x="2466" y="907"/>
                    <a:pt x="2488" y="896"/>
                  </a:cubicBezTo>
                  <a:cubicBezTo>
                    <a:pt x="2522" y="874"/>
                    <a:pt x="2522" y="863"/>
                    <a:pt x="2533" y="796"/>
                  </a:cubicBezTo>
                  <a:cubicBezTo>
                    <a:pt x="2533" y="717"/>
                    <a:pt x="2510" y="683"/>
                    <a:pt x="2499" y="661"/>
                  </a:cubicBezTo>
                  <a:cubicBezTo>
                    <a:pt x="2477" y="627"/>
                    <a:pt x="2488" y="594"/>
                    <a:pt x="2510" y="571"/>
                  </a:cubicBezTo>
                  <a:cubicBezTo>
                    <a:pt x="2533" y="549"/>
                    <a:pt x="2522" y="482"/>
                    <a:pt x="2522" y="482"/>
                  </a:cubicBezTo>
                  <a:cubicBezTo>
                    <a:pt x="2578" y="425"/>
                    <a:pt x="2578" y="425"/>
                    <a:pt x="2578" y="425"/>
                  </a:cubicBezTo>
                  <a:cubicBezTo>
                    <a:pt x="2488" y="213"/>
                    <a:pt x="2488" y="213"/>
                    <a:pt x="2488" y="213"/>
                  </a:cubicBezTo>
                  <a:cubicBezTo>
                    <a:pt x="2286" y="112"/>
                    <a:pt x="2286" y="112"/>
                    <a:pt x="2286" y="112"/>
                  </a:cubicBezTo>
                  <a:cubicBezTo>
                    <a:pt x="1984" y="89"/>
                    <a:pt x="1984" y="89"/>
                    <a:pt x="1984" y="89"/>
                  </a:cubicBezTo>
                  <a:cubicBezTo>
                    <a:pt x="1793" y="246"/>
                    <a:pt x="1793" y="246"/>
                    <a:pt x="1793" y="246"/>
                  </a:cubicBezTo>
                  <a:cubicBezTo>
                    <a:pt x="1793" y="246"/>
                    <a:pt x="1771" y="291"/>
                    <a:pt x="1782" y="325"/>
                  </a:cubicBezTo>
                  <a:cubicBezTo>
                    <a:pt x="1793" y="370"/>
                    <a:pt x="1715" y="392"/>
                    <a:pt x="1681" y="358"/>
                  </a:cubicBezTo>
                  <a:cubicBezTo>
                    <a:pt x="1659" y="314"/>
                    <a:pt x="1625" y="246"/>
                    <a:pt x="1569" y="246"/>
                  </a:cubicBezTo>
                  <a:cubicBezTo>
                    <a:pt x="1524" y="258"/>
                    <a:pt x="1479" y="314"/>
                    <a:pt x="1446" y="302"/>
                  </a:cubicBezTo>
                  <a:cubicBezTo>
                    <a:pt x="1423" y="280"/>
                    <a:pt x="1401" y="246"/>
                    <a:pt x="1390" y="269"/>
                  </a:cubicBezTo>
                  <a:cubicBezTo>
                    <a:pt x="1378" y="280"/>
                    <a:pt x="1390" y="347"/>
                    <a:pt x="1367" y="347"/>
                  </a:cubicBezTo>
                  <a:cubicBezTo>
                    <a:pt x="1345" y="347"/>
                    <a:pt x="1289" y="280"/>
                    <a:pt x="1233" y="258"/>
                  </a:cubicBezTo>
                  <a:cubicBezTo>
                    <a:pt x="1177" y="246"/>
                    <a:pt x="1132" y="224"/>
                    <a:pt x="1132" y="201"/>
                  </a:cubicBezTo>
                  <a:cubicBezTo>
                    <a:pt x="1121" y="190"/>
                    <a:pt x="1121" y="145"/>
                    <a:pt x="1098" y="157"/>
                  </a:cubicBezTo>
                  <a:cubicBezTo>
                    <a:pt x="1087" y="168"/>
                    <a:pt x="1042" y="190"/>
                    <a:pt x="1031" y="157"/>
                  </a:cubicBezTo>
                  <a:cubicBezTo>
                    <a:pt x="1009" y="134"/>
                    <a:pt x="964" y="67"/>
                    <a:pt x="919" y="67"/>
                  </a:cubicBezTo>
                  <a:cubicBezTo>
                    <a:pt x="885" y="78"/>
                    <a:pt x="863" y="67"/>
                    <a:pt x="863" y="45"/>
                  </a:cubicBezTo>
                  <a:cubicBezTo>
                    <a:pt x="852" y="22"/>
                    <a:pt x="818" y="0"/>
                    <a:pt x="796" y="45"/>
                  </a:cubicBezTo>
                  <a:cubicBezTo>
                    <a:pt x="773" y="78"/>
                    <a:pt x="740" y="101"/>
                    <a:pt x="706" y="123"/>
                  </a:cubicBezTo>
                  <a:cubicBezTo>
                    <a:pt x="673" y="145"/>
                    <a:pt x="661" y="168"/>
                    <a:pt x="673" y="213"/>
                  </a:cubicBezTo>
                  <a:cubicBezTo>
                    <a:pt x="684" y="258"/>
                    <a:pt x="661" y="314"/>
                    <a:pt x="639" y="336"/>
                  </a:cubicBezTo>
                  <a:cubicBezTo>
                    <a:pt x="605" y="347"/>
                    <a:pt x="549" y="425"/>
                    <a:pt x="549" y="493"/>
                  </a:cubicBezTo>
                  <a:cubicBezTo>
                    <a:pt x="538" y="560"/>
                    <a:pt x="538" y="583"/>
                    <a:pt x="515" y="594"/>
                  </a:cubicBezTo>
                  <a:cubicBezTo>
                    <a:pt x="493" y="594"/>
                    <a:pt x="482" y="627"/>
                    <a:pt x="482" y="683"/>
                  </a:cubicBezTo>
                  <a:cubicBezTo>
                    <a:pt x="482" y="739"/>
                    <a:pt x="482" y="818"/>
                    <a:pt x="460" y="829"/>
                  </a:cubicBezTo>
                  <a:cubicBezTo>
                    <a:pt x="437" y="840"/>
                    <a:pt x="359" y="907"/>
                    <a:pt x="347" y="907"/>
                  </a:cubicBezTo>
                  <a:cubicBezTo>
                    <a:pt x="347" y="907"/>
                    <a:pt x="280" y="885"/>
                    <a:pt x="258" y="874"/>
                  </a:cubicBezTo>
                  <a:cubicBezTo>
                    <a:pt x="224" y="863"/>
                    <a:pt x="157" y="840"/>
                    <a:pt x="157" y="840"/>
                  </a:cubicBezTo>
                  <a:lnTo>
                    <a:pt x="157" y="840"/>
                  </a:lnTo>
                  <a:lnTo>
                    <a:pt x="157" y="840"/>
                  </a:lnTo>
                  <a:cubicBezTo>
                    <a:pt x="168" y="840"/>
                    <a:pt x="168" y="840"/>
                    <a:pt x="168" y="840"/>
                  </a:cubicBezTo>
                  <a:cubicBezTo>
                    <a:pt x="168" y="840"/>
                    <a:pt x="135" y="829"/>
                    <a:pt x="90" y="852"/>
                  </a:cubicBezTo>
                  <a:cubicBezTo>
                    <a:pt x="45" y="863"/>
                    <a:pt x="45" y="907"/>
                    <a:pt x="56" y="941"/>
                  </a:cubicBezTo>
                  <a:cubicBezTo>
                    <a:pt x="67" y="986"/>
                    <a:pt x="78" y="1008"/>
                    <a:pt x="45" y="1031"/>
                  </a:cubicBezTo>
                  <a:cubicBezTo>
                    <a:pt x="11" y="1053"/>
                    <a:pt x="0" y="1098"/>
                    <a:pt x="45" y="1098"/>
                  </a:cubicBezTo>
                  <a:cubicBezTo>
                    <a:pt x="90" y="1087"/>
                    <a:pt x="78" y="1087"/>
                    <a:pt x="90" y="1132"/>
                  </a:cubicBezTo>
                  <a:cubicBezTo>
                    <a:pt x="90" y="1188"/>
                    <a:pt x="90" y="1300"/>
                    <a:pt x="101" y="1300"/>
                  </a:cubicBezTo>
                  <a:cubicBezTo>
                    <a:pt x="112" y="1311"/>
                    <a:pt x="179" y="1300"/>
                    <a:pt x="191" y="1322"/>
                  </a:cubicBezTo>
                  <a:cubicBezTo>
                    <a:pt x="202" y="1356"/>
                    <a:pt x="235" y="1356"/>
                    <a:pt x="235" y="1378"/>
                  </a:cubicBezTo>
                  <a:cubicBezTo>
                    <a:pt x="246" y="1401"/>
                    <a:pt x="246" y="1423"/>
                    <a:pt x="280" y="1434"/>
                  </a:cubicBezTo>
                  <a:cubicBezTo>
                    <a:pt x="314" y="1434"/>
                    <a:pt x="314" y="1445"/>
                    <a:pt x="325" y="1479"/>
                  </a:cubicBezTo>
                  <a:cubicBezTo>
                    <a:pt x="336" y="1513"/>
                    <a:pt x="314" y="1535"/>
                    <a:pt x="347" y="1546"/>
                  </a:cubicBezTo>
                  <a:cubicBezTo>
                    <a:pt x="381" y="1558"/>
                    <a:pt x="347" y="1602"/>
                    <a:pt x="370" y="1625"/>
                  </a:cubicBezTo>
                  <a:cubicBezTo>
                    <a:pt x="392" y="1636"/>
                    <a:pt x="404" y="1636"/>
                    <a:pt x="404" y="1669"/>
                  </a:cubicBezTo>
                  <a:cubicBezTo>
                    <a:pt x="404" y="1714"/>
                    <a:pt x="404" y="1770"/>
                    <a:pt x="426" y="1770"/>
                  </a:cubicBezTo>
                  <a:cubicBezTo>
                    <a:pt x="460" y="1770"/>
                    <a:pt x="471" y="1782"/>
                    <a:pt x="482" y="1793"/>
                  </a:cubicBezTo>
                  <a:cubicBezTo>
                    <a:pt x="493" y="1804"/>
                    <a:pt x="515" y="1815"/>
                    <a:pt x="538" y="1793"/>
                  </a:cubicBezTo>
                  <a:cubicBezTo>
                    <a:pt x="571" y="1782"/>
                    <a:pt x="560" y="1770"/>
                    <a:pt x="594" y="1759"/>
                  </a:cubicBezTo>
                  <a:cubicBezTo>
                    <a:pt x="616" y="1737"/>
                    <a:pt x="616" y="1725"/>
                    <a:pt x="639" y="1725"/>
                  </a:cubicBezTo>
                  <a:cubicBezTo>
                    <a:pt x="650" y="1725"/>
                    <a:pt x="684" y="1759"/>
                    <a:pt x="717" y="1770"/>
                  </a:cubicBezTo>
                  <a:cubicBezTo>
                    <a:pt x="740" y="1782"/>
                    <a:pt x="773" y="1793"/>
                    <a:pt x="784" y="1827"/>
                  </a:cubicBezTo>
                  <a:cubicBezTo>
                    <a:pt x="784" y="1860"/>
                    <a:pt x="784" y="1949"/>
                    <a:pt x="818" y="1982"/>
                  </a:cubicBezTo>
                  <a:cubicBezTo>
                    <a:pt x="863" y="2016"/>
                    <a:pt x="885" y="2027"/>
                    <a:pt x="874" y="2038"/>
                  </a:cubicBezTo>
                  <a:cubicBezTo>
                    <a:pt x="874" y="2061"/>
                    <a:pt x="829" y="2050"/>
                    <a:pt x="829" y="2095"/>
                  </a:cubicBezTo>
                  <a:cubicBezTo>
                    <a:pt x="829" y="2139"/>
                    <a:pt x="829" y="2251"/>
                    <a:pt x="840" y="2285"/>
                  </a:cubicBezTo>
                  <a:cubicBezTo>
                    <a:pt x="852" y="2319"/>
                    <a:pt x="874" y="2262"/>
                    <a:pt x="896" y="2285"/>
                  </a:cubicBezTo>
                  <a:cubicBezTo>
                    <a:pt x="908" y="2307"/>
                    <a:pt x="953" y="2341"/>
                    <a:pt x="953" y="2375"/>
                  </a:cubicBezTo>
                  <a:cubicBezTo>
                    <a:pt x="953" y="2408"/>
                    <a:pt x="941" y="2442"/>
                    <a:pt x="953" y="2486"/>
                  </a:cubicBezTo>
                  <a:cubicBezTo>
                    <a:pt x="964" y="2520"/>
                    <a:pt x="1020" y="2509"/>
                    <a:pt x="1020" y="2520"/>
                  </a:cubicBezTo>
                  <a:cubicBezTo>
                    <a:pt x="1020" y="2543"/>
                    <a:pt x="1020" y="2588"/>
                    <a:pt x="1031" y="2599"/>
                  </a:cubicBezTo>
                  <a:cubicBezTo>
                    <a:pt x="1053" y="2621"/>
                    <a:pt x="1053" y="2610"/>
                    <a:pt x="1098" y="2610"/>
                  </a:cubicBezTo>
                  <a:cubicBezTo>
                    <a:pt x="1143" y="2599"/>
                    <a:pt x="1166" y="2632"/>
                    <a:pt x="1177" y="2655"/>
                  </a:cubicBezTo>
                  <a:cubicBezTo>
                    <a:pt x="1177" y="2655"/>
                    <a:pt x="1177" y="2666"/>
                    <a:pt x="1166" y="2666"/>
                  </a:cubicBezTo>
                  <a:cubicBezTo>
                    <a:pt x="1177" y="2677"/>
                    <a:pt x="1177" y="2677"/>
                    <a:pt x="1188" y="2688"/>
                  </a:cubicBezTo>
                  <a:cubicBezTo>
                    <a:pt x="1199" y="2722"/>
                    <a:pt x="1188" y="2744"/>
                    <a:pt x="1222" y="2733"/>
                  </a:cubicBezTo>
                  <a:cubicBezTo>
                    <a:pt x="1266" y="2722"/>
                    <a:pt x="1401" y="2733"/>
                    <a:pt x="1412" y="2744"/>
                  </a:cubicBezTo>
                  <a:cubicBezTo>
                    <a:pt x="1412" y="2767"/>
                    <a:pt x="1401" y="2823"/>
                    <a:pt x="1435" y="2845"/>
                  </a:cubicBezTo>
                  <a:cubicBezTo>
                    <a:pt x="1468" y="2868"/>
                    <a:pt x="1479" y="2912"/>
                    <a:pt x="1435" y="2912"/>
                  </a:cubicBezTo>
                  <a:cubicBezTo>
                    <a:pt x="1390" y="2912"/>
                    <a:pt x="1356" y="2924"/>
                    <a:pt x="1367" y="2957"/>
                  </a:cubicBezTo>
                  <a:cubicBezTo>
                    <a:pt x="1378" y="2980"/>
                    <a:pt x="1435" y="2957"/>
                    <a:pt x="1435" y="2991"/>
                  </a:cubicBezTo>
                  <a:cubicBezTo>
                    <a:pt x="1423" y="3013"/>
                    <a:pt x="1423" y="3081"/>
                    <a:pt x="1457" y="3058"/>
                  </a:cubicBezTo>
                  <a:cubicBezTo>
                    <a:pt x="1491" y="3036"/>
                    <a:pt x="1535" y="3013"/>
                    <a:pt x="1524" y="2991"/>
                  </a:cubicBezTo>
                  <a:cubicBezTo>
                    <a:pt x="1524" y="2968"/>
                    <a:pt x="1569" y="2968"/>
                    <a:pt x="1569" y="3002"/>
                  </a:cubicBezTo>
                  <a:cubicBezTo>
                    <a:pt x="1569" y="3036"/>
                    <a:pt x="1558" y="3047"/>
                    <a:pt x="1591" y="3047"/>
                  </a:cubicBezTo>
                  <a:cubicBezTo>
                    <a:pt x="1625" y="3047"/>
                    <a:pt x="1636" y="3092"/>
                    <a:pt x="1636" y="3114"/>
                  </a:cubicBezTo>
                  <a:cubicBezTo>
                    <a:pt x="1647" y="3148"/>
                    <a:pt x="1670" y="3148"/>
                    <a:pt x="1737" y="3137"/>
                  </a:cubicBezTo>
                  <a:cubicBezTo>
                    <a:pt x="1782" y="3137"/>
                    <a:pt x="1838" y="3137"/>
                    <a:pt x="1860" y="3137"/>
                  </a:cubicBezTo>
                  <a:cubicBezTo>
                    <a:pt x="1860" y="3103"/>
                    <a:pt x="1860" y="3013"/>
                    <a:pt x="1871" y="3002"/>
                  </a:cubicBezTo>
                  <a:cubicBezTo>
                    <a:pt x="1894" y="3002"/>
                    <a:pt x="1894" y="2980"/>
                    <a:pt x="1894" y="2935"/>
                  </a:cubicBezTo>
                  <a:cubicBezTo>
                    <a:pt x="1883" y="2901"/>
                    <a:pt x="1894" y="2890"/>
                    <a:pt x="1939" y="2879"/>
                  </a:cubicBezTo>
                  <a:cubicBezTo>
                    <a:pt x="1973" y="2879"/>
                    <a:pt x="1995" y="2868"/>
                    <a:pt x="1995" y="2845"/>
                  </a:cubicBezTo>
                  <a:cubicBezTo>
                    <a:pt x="1995" y="2812"/>
                    <a:pt x="1984" y="2789"/>
                    <a:pt x="1961" y="2778"/>
                  </a:cubicBezTo>
                  <a:cubicBezTo>
                    <a:pt x="1950" y="2767"/>
                    <a:pt x="1961" y="2722"/>
                    <a:pt x="1939" y="2677"/>
                  </a:cubicBezTo>
                  <a:cubicBezTo>
                    <a:pt x="1928" y="2632"/>
                    <a:pt x="1950" y="2599"/>
                    <a:pt x="1984" y="2610"/>
                  </a:cubicBezTo>
                  <a:cubicBezTo>
                    <a:pt x="2017" y="2610"/>
                    <a:pt x="1984" y="2565"/>
                    <a:pt x="1995" y="2554"/>
                  </a:cubicBezTo>
                  <a:cubicBezTo>
                    <a:pt x="2017" y="2543"/>
                    <a:pt x="2006" y="2531"/>
                    <a:pt x="2017" y="2464"/>
                  </a:cubicBezTo>
                  <a:cubicBezTo>
                    <a:pt x="2028" y="2408"/>
                    <a:pt x="2062" y="2386"/>
                    <a:pt x="2107" y="2375"/>
                  </a:cubicBezTo>
                  <a:cubicBezTo>
                    <a:pt x="2152" y="2375"/>
                    <a:pt x="2140" y="2319"/>
                    <a:pt x="2174" y="2296"/>
                  </a:cubicBezTo>
                  <a:cubicBezTo>
                    <a:pt x="2219" y="2285"/>
                    <a:pt x="2208" y="2274"/>
                    <a:pt x="2197" y="2251"/>
                  </a:cubicBezTo>
                  <a:cubicBezTo>
                    <a:pt x="2185" y="2229"/>
                    <a:pt x="2197" y="2162"/>
                    <a:pt x="2185" y="2128"/>
                  </a:cubicBezTo>
                  <a:cubicBezTo>
                    <a:pt x="2174" y="2095"/>
                    <a:pt x="2174" y="2016"/>
                    <a:pt x="2185" y="2016"/>
                  </a:cubicBezTo>
                  <a:cubicBezTo>
                    <a:pt x="2208" y="2016"/>
                    <a:pt x="2230" y="2005"/>
                    <a:pt x="2230" y="1982"/>
                  </a:cubicBezTo>
                  <a:cubicBezTo>
                    <a:pt x="2230" y="1949"/>
                    <a:pt x="2264" y="1926"/>
                    <a:pt x="2320" y="1949"/>
                  </a:cubicBezTo>
                  <a:cubicBezTo>
                    <a:pt x="2365" y="1960"/>
                    <a:pt x="2353" y="1915"/>
                    <a:pt x="2365" y="1871"/>
                  </a:cubicBezTo>
                  <a:cubicBezTo>
                    <a:pt x="2376" y="1827"/>
                    <a:pt x="2398" y="1815"/>
                    <a:pt x="2421" y="1815"/>
                  </a:cubicBezTo>
                  <a:cubicBezTo>
                    <a:pt x="2443" y="1815"/>
                    <a:pt x="2477" y="1770"/>
                    <a:pt x="2477" y="1725"/>
                  </a:cubicBezTo>
                  <a:cubicBezTo>
                    <a:pt x="2477" y="1681"/>
                    <a:pt x="2522" y="1714"/>
                    <a:pt x="2578" y="1737"/>
                  </a:cubicBezTo>
                  <a:cubicBezTo>
                    <a:pt x="2622" y="1770"/>
                    <a:pt x="2667" y="1770"/>
                    <a:pt x="2667" y="1737"/>
                  </a:cubicBezTo>
                  <a:cubicBezTo>
                    <a:pt x="2678" y="1714"/>
                    <a:pt x="2701" y="1692"/>
                    <a:pt x="2746" y="1703"/>
                  </a:cubicBezTo>
                  <a:cubicBezTo>
                    <a:pt x="2779" y="1703"/>
                    <a:pt x="2824" y="1737"/>
                    <a:pt x="2846" y="1770"/>
                  </a:cubicBezTo>
                  <a:cubicBezTo>
                    <a:pt x="2869" y="1793"/>
                    <a:pt x="2891" y="1770"/>
                    <a:pt x="2925" y="1782"/>
                  </a:cubicBezTo>
                  <a:cubicBezTo>
                    <a:pt x="2947" y="1804"/>
                    <a:pt x="2970" y="1804"/>
                    <a:pt x="2981" y="1759"/>
                  </a:cubicBezTo>
                  <a:cubicBezTo>
                    <a:pt x="2981" y="1714"/>
                    <a:pt x="3060" y="1759"/>
                    <a:pt x="3082" y="1725"/>
                  </a:cubicBezTo>
                  <a:cubicBezTo>
                    <a:pt x="3104" y="1681"/>
                    <a:pt x="3048" y="1580"/>
                    <a:pt x="3026" y="156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17"/>
            <p:cNvSpPr>
              <a:spLocks noChangeArrowheads="1"/>
            </p:cNvSpPr>
            <p:nvPr/>
          </p:nvSpPr>
          <p:spPr bwMode="auto">
            <a:xfrm>
              <a:off x="5089386" y="4037770"/>
              <a:ext cx="431078" cy="599463"/>
            </a:xfrm>
            <a:custGeom>
              <a:avLst/>
              <a:gdLst>
                <a:gd name="T0" fmla="*/ 807 w 1245"/>
                <a:gd name="T1" fmla="*/ 471 h 1727"/>
                <a:gd name="T2" fmla="*/ 661 w 1245"/>
                <a:gd name="T3" fmla="*/ 381 h 1727"/>
                <a:gd name="T4" fmla="*/ 594 w 1245"/>
                <a:gd name="T5" fmla="*/ 325 h 1727"/>
                <a:gd name="T6" fmla="*/ 505 w 1245"/>
                <a:gd name="T7" fmla="*/ 325 h 1727"/>
                <a:gd name="T8" fmla="*/ 505 w 1245"/>
                <a:gd name="T9" fmla="*/ 246 h 1727"/>
                <a:gd name="T10" fmla="*/ 482 w 1245"/>
                <a:gd name="T11" fmla="*/ 78 h 1727"/>
                <a:gd name="T12" fmla="*/ 258 w 1245"/>
                <a:gd name="T13" fmla="*/ 22 h 1727"/>
                <a:gd name="T14" fmla="*/ 202 w 1245"/>
                <a:gd name="T15" fmla="*/ 22 h 1727"/>
                <a:gd name="T16" fmla="*/ 146 w 1245"/>
                <a:gd name="T17" fmla="*/ 191 h 1727"/>
                <a:gd name="T18" fmla="*/ 179 w 1245"/>
                <a:gd name="T19" fmla="*/ 370 h 1727"/>
                <a:gd name="T20" fmla="*/ 56 w 1245"/>
                <a:gd name="T21" fmla="*/ 347 h 1727"/>
                <a:gd name="T22" fmla="*/ 67 w 1245"/>
                <a:gd name="T23" fmla="*/ 605 h 1727"/>
                <a:gd name="T24" fmla="*/ 191 w 1245"/>
                <a:gd name="T25" fmla="*/ 751 h 1727"/>
                <a:gd name="T26" fmla="*/ 56 w 1245"/>
                <a:gd name="T27" fmla="*/ 728 h 1727"/>
                <a:gd name="T28" fmla="*/ 34 w 1245"/>
                <a:gd name="T29" fmla="*/ 639 h 1727"/>
                <a:gd name="T30" fmla="*/ 11 w 1245"/>
                <a:gd name="T31" fmla="*/ 627 h 1727"/>
                <a:gd name="T32" fmla="*/ 101 w 1245"/>
                <a:gd name="T33" fmla="*/ 941 h 1727"/>
                <a:gd name="T34" fmla="*/ 303 w 1245"/>
                <a:gd name="T35" fmla="*/ 1154 h 1727"/>
                <a:gd name="T36" fmla="*/ 292 w 1245"/>
                <a:gd name="T37" fmla="*/ 1434 h 1727"/>
                <a:gd name="T38" fmla="*/ 112 w 1245"/>
                <a:gd name="T39" fmla="*/ 1647 h 1727"/>
                <a:gd name="T40" fmla="*/ 258 w 1245"/>
                <a:gd name="T41" fmla="*/ 1681 h 1727"/>
                <a:gd name="T42" fmla="*/ 348 w 1245"/>
                <a:gd name="T43" fmla="*/ 1569 h 1727"/>
                <a:gd name="T44" fmla="*/ 516 w 1245"/>
                <a:gd name="T45" fmla="*/ 1468 h 1727"/>
                <a:gd name="T46" fmla="*/ 706 w 1245"/>
                <a:gd name="T47" fmla="*/ 1513 h 1727"/>
                <a:gd name="T48" fmla="*/ 863 w 1245"/>
                <a:gd name="T49" fmla="*/ 1647 h 1727"/>
                <a:gd name="T50" fmla="*/ 953 w 1245"/>
                <a:gd name="T51" fmla="*/ 1681 h 1727"/>
                <a:gd name="T52" fmla="*/ 964 w 1245"/>
                <a:gd name="T53" fmla="*/ 1513 h 1727"/>
                <a:gd name="T54" fmla="*/ 1054 w 1245"/>
                <a:gd name="T55" fmla="*/ 1345 h 1727"/>
                <a:gd name="T56" fmla="*/ 1199 w 1245"/>
                <a:gd name="T57" fmla="*/ 1311 h 1727"/>
                <a:gd name="T58" fmla="*/ 1244 w 1245"/>
                <a:gd name="T59" fmla="*/ 1143 h 1727"/>
                <a:gd name="T60" fmla="*/ 1166 w 1245"/>
                <a:gd name="T61" fmla="*/ 1009 h 1727"/>
                <a:gd name="T62" fmla="*/ 1009 w 1245"/>
                <a:gd name="T63" fmla="*/ 896 h 1727"/>
                <a:gd name="T64" fmla="*/ 941 w 1245"/>
                <a:gd name="T65" fmla="*/ 751 h 1727"/>
                <a:gd name="T66" fmla="*/ 897 w 1245"/>
                <a:gd name="T67" fmla="*/ 605 h 1727"/>
                <a:gd name="T68" fmla="*/ 930 w 1245"/>
                <a:gd name="T69" fmla="*/ 471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5" h="1727">
                  <a:moveTo>
                    <a:pt x="807" y="471"/>
                  </a:moveTo>
                  <a:lnTo>
                    <a:pt x="807" y="471"/>
                  </a:lnTo>
                  <a:cubicBezTo>
                    <a:pt x="740" y="482"/>
                    <a:pt x="717" y="482"/>
                    <a:pt x="706" y="448"/>
                  </a:cubicBezTo>
                  <a:cubicBezTo>
                    <a:pt x="706" y="426"/>
                    <a:pt x="695" y="381"/>
                    <a:pt x="661" y="381"/>
                  </a:cubicBezTo>
                  <a:cubicBezTo>
                    <a:pt x="628" y="381"/>
                    <a:pt x="639" y="370"/>
                    <a:pt x="639" y="336"/>
                  </a:cubicBezTo>
                  <a:cubicBezTo>
                    <a:pt x="639" y="302"/>
                    <a:pt x="594" y="302"/>
                    <a:pt x="594" y="325"/>
                  </a:cubicBezTo>
                  <a:cubicBezTo>
                    <a:pt x="605" y="347"/>
                    <a:pt x="561" y="370"/>
                    <a:pt x="527" y="392"/>
                  </a:cubicBezTo>
                  <a:cubicBezTo>
                    <a:pt x="493" y="415"/>
                    <a:pt x="493" y="347"/>
                    <a:pt x="505" y="325"/>
                  </a:cubicBezTo>
                  <a:cubicBezTo>
                    <a:pt x="505" y="291"/>
                    <a:pt x="448" y="314"/>
                    <a:pt x="437" y="291"/>
                  </a:cubicBezTo>
                  <a:cubicBezTo>
                    <a:pt x="426" y="258"/>
                    <a:pt x="460" y="246"/>
                    <a:pt x="505" y="246"/>
                  </a:cubicBezTo>
                  <a:cubicBezTo>
                    <a:pt x="549" y="246"/>
                    <a:pt x="538" y="202"/>
                    <a:pt x="505" y="179"/>
                  </a:cubicBezTo>
                  <a:cubicBezTo>
                    <a:pt x="471" y="157"/>
                    <a:pt x="482" y="101"/>
                    <a:pt x="482" y="78"/>
                  </a:cubicBezTo>
                  <a:cubicBezTo>
                    <a:pt x="471" y="67"/>
                    <a:pt x="336" y="56"/>
                    <a:pt x="292" y="67"/>
                  </a:cubicBezTo>
                  <a:cubicBezTo>
                    <a:pt x="258" y="78"/>
                    <a:pt x="269" y="56"/>
                    <a:pt x="258" y="22"/>
                  </a:cubicBezTo>
                  <a:cubicBezTo>
                    <a:pt x="247" y="11"/>
                    <a:pt x="247" y="11"/>
                    <a:pt x="236" y="0"/>
                  </a:cubicBezTo>
                  <a:cubicBezTo>
                    <a:pt x="236" y="11"/>
                    <a:pt x="213" y="22"/>
                    <a:pt x="202" y="22"/>
                  </a:cubicBezTo>
                  <a:cubicBezTo>
                    <a:pt x="168" y="33"/>
                    <a:pt x="157" y="56"/>
                    <a:pt x="157" y="89"/>
                  </a:cubicBezTo>
                  <a:cubicBezTo>
                    <a:pt x="168" y="123"/>
                    <a:pt x="157" y="168"/>
                    <a:pt x="146" y="191"/>
                  </a:cubicBezTo>
                  <a:cubicBezTo>
                    <a:pt x="135" y="224"/>
                    <a:pt x="146" y="258"/>
                    <a:pt x="157" y="269"/>
                  </a:cubicBezTo>
                  <a:cubicBezTo>
                    <a:pt x="179" y="291"/>
                    <a:pt x="202" y="358"/>
                    <a:pt x="179" y="370"/>
                  </a:cubicBezTo>
                  <a:cubicBezTo>
                    <a:pt x="168" y="392"/>
                    <a:pt x="157" y="392"/>
                    <a:pt x="123" y="370"/>
                  </a:cubicBezTo>
                  <a:cubicBezTo>
                    <a:pt x="90" y="347"/>
                    <a:pt x="56" y="347"/>
                    <a:pt x="56" y="347"/>
                  </a:cubicBezTo>
                  <a:cubicBezTo>
                    <a:pt x="56" y="347"/>
                    <a:pt x="56" y="358"/>
                    <a:pt x="56" y="370"/>
                  </a:cubicBezTo>
                  <a:cubicBezTo>
                    <a:pt x="56" y="403"/>
                    <a:pt x="45" y="538"/>
                    <a:pt x="67" y="605"/>
                  </a:cubicBezTo>
                  <a:cubicBezTo>
                    <a:pt x="79" y="661"/>
                    <a:pt x="112" y="684"/>
                    <a:pt x="157" y="695"/>
                  </a:cubicBezTo>
                  <a:cubicBezTo>
                    <a:pt x="191" y="706"/>
                    <a:pt x="202" y="728"/>
                    <a:pt x="191" y="751"/>
                  </a:cubicBezTo>
                  <a:cubicBezTo>
                    <a:pt x="168" y="762"/>
                    <a:pt x="135" y="762"/>
                    <a:pt x="112" y="740"/>
                  </a:cubicBezTo>
                  <a:cubicBezTo>
                    <a:pt x="101" y="717"/>
                    <a:pt x="79" y="717"/>
                    <a:pt x="56" y="728"/>
                  </a:cubicBezTo>
                  <a:cubicBezTo>
                    <a:pt x="45" y="740"/>
                    <a:pt x="45" y="728"/>
                    <a:pt x="56" y="706"/>
                  </a:cubicBezTo>
                  <a:cubicBezTo>
                    <a:pt x="67" y="684"/>
                    <a:pt x="56" y="650"/>
                    <a:pt x="34" y="639"/>
                  </a:cubicBezTo>
                  <a:cubicBezTo>
                    <a:pt x="23" y="616"/>
                    <a:pt x="23" y="538"/>
                    <a:pt x="11" y="538"/>
                  </a:cubicBezTo>
                  <a:cubicBezTo>
                    <a:pt x="0" y="527"/>
                    <a:pt x="0" y="594"/>
                    <a:pt x="11" y="627"/>
                  </a:cubicBezTo>
                  <a:cubicBezTo>
                    <a:pt x="34" y="672"/>
                    <a:pt x="0" y="706"/>
                    <a:pt x="23" y="762"/>
                  </a:cubicBezTo>
                  <a:cubicBezTo>
                    <a:pt x="45" y="829"/>
                    <a:pt x="67" y="919"/>
                    <a:pt x="101" y="941"/>
                  </a:cubicBezTo>
                  <a:cubicBezTo>
                    <a:pt x="135" y="964"/>
                    <a:pt x="157" y="975"/>
                    <a:pt x="191" y="1020"/>
                  </a:cubicBezTo>
                  <a:cubicBezTo>
                    <a:pt x="213" y="1053"/>
                    <a:pt x="292" y="1120"/>
                    <a:pt x="303" y="1154"/>
                  </a:cubicBezTo>
                  <a:cubicBezTo>
                    <a:pt x="303" y="1188"/>
                    <a:pt x="258" y="1233"/>
                    <a:pt x="269" y="1289"/>
                  </a:cubicBezTo>
                  <a:cubicBezTo>
                    <a:pt x="280" y="1356"/>
                    <a:pt x="303" y="1412"/>
                    <a:pt x="292" y="1434"/>
                  </a:cubicBezTo>
                  <a:cubicBezTo>
                    <a:pt x="280" y="1468"/>
                    <a:pt x="236" y="1502"/>
                    <a:pt x="202" y="1535"/>
                  </a:cubicBezTo>
                  <a:cubicBezTo>
                    <a:pt x="168" y="1558"/>
                    <a:pt x="112" y="1614"/>
                    <a:pt x="112" y="1647"/>
                  </a:cubicBezTo>
                  <a:cubicBezTo>
                    <a:pt x="112" y="1681"/>
                    <a:pt x="157" y="1658"/>
                    <a:pt x="202" y="1658"/>
                  </a:cubicBezTo>
                  <a:cubicBezTo>
                    <a:pt x="236" y="1658"/>
                    <a:pt x="247" y="1647"/>
                    <a:pt x="258" y="1681"/>
                  </a:cubicBezTo>
                  <a:cubicBezTo>
                    <a:pt x="258" y="1658"/>
                    <a:pt x="269" y="1647"/>
                    <a:pt x="269" y="1625"/>
                  </a:cubicBezTo>
                  <a:cubicBezTo>
                    <a:pt x="280" y="1591"/>
                    <a:pt x="336" y="1591"/>
                    <a:pt x="348" y="1569"/>
                  </a:cubicBezTo>
                  <a:cubicBezTo>
                    <a:pt x="359" y="1546"/>
                    <a:pt x="437" y="1513"/>
                    <a:pt x="460" y="1513"/>
                  </a:cubicBezTo>
                  <a:cubicBezTo>
                    <a:pt x="482" y="1524"/>
                    <a:pt x="505" y="1491"/>
                    <a:pt x="516" y="1468"/>
                  </a:cubicBezTo>
                  <a:cubicBezTo>
                    <a:pt x="538" y="1457"/>
                    <a:pt x="628" y="1457"/>
                    <a:pt x="650" y="1491"/>
                  </a:cubicBezTo>
                  <a:cubicBezTo>
                    <a:pt x="661" y="1513"/>
                    <a:pt x="672" y="1513"/>
                    <a:pt x="706" y="1513"/>
                  </a:cubicBezTo>
                  <a:cubicBezTo>
                    <a:pt x="740" y="1524"/>
                    <a:pt x="740" y="1569"/>
                    <a:pt x="785" y="1591"/>
                  </a:cubicBezTo>
                  <a:cubicBezTo>
                    <a:pt x="818" y="1602"/>
                    <a:pt x="841" y="1614"/>
                    <a:pt x="863" y="1647"/>
                  </a:cubicBezTo>
                  <a:cubicBezTo>
                    <a:pt x="885" y="1692"/>
                    <a:pt x="885" y="1692"/>
                    <a:pt x="919" y="1703"/>
                  </a:cubicBezTo>
                  <a:cubicBezTo>
                    <a:pt x="941" y="1715"/>
                    <a:pt x="953" y="1726"/>
                    <a:pt x="953" y="1681"/>
                  </a:cubicBezTo>
                  <a:cubicBezTo>
                    <a:pt x="953" y="1647"/>
                    <a:pt x="908" y="1580"/>
                    <a:pt x="908" y="1580"/>
                  </a:cubicBezTo>
                  <a:cubicBezTo>
                    <a:pt x="908" y="1580"/>
                    <a:pt x="941" y="1535"/>
                    <a:pt x="964" y="1513"/>
                  </a:cubicBezTo>
                  <a:cubicBezTo>
                    <a:pt x="975" y="1491"/>
                    <a:pt x="964" y="1367"/>
                    <a:pt x="975" y="1345"/>
                  </a:cubicBezTo>
                  <a:cubicBezTo>
                    <a:pt x="975" y="1322"/>
                    <a:pt x="1009" y="1333"/>
                    <a:pt x="1054" y="1345"/>
                  </a:cubicBezTo>
                  <a:cubicBezTo>
                    <a:pt x="1098" y="1356"/>
                    <a:pt x="1110" y="1345"/>
                    <a:pt x="1121" y="1311"/>
                  </a:cubicBezTo>
                  <a:cubicBezTo>
                    <a:pt x="1143" y="1277"/>
                    <a:pt x="1177" y="1300"/>
                    <a:pt x="1199" y="1311"/>
                  </a:cubicBezTo>
                  <a:cubicBezTo>
                    <a:pt x="1210" y="1322"/>
                    <a:pt x="1222" y="1277"/>
                    <a:pt x="1222" y="1233"/>
                  </a:cubicBezTo>
                  <a:cubicBezTo>
                    <a:pt x="1222" y="1188"/>
                    <a:pt x="1244" y="1154"/>
                    <a:pt x="1244" y="1143"/>
                  </a:cubicBezTo>
                  <a:cubicBezTo>
                    <a:pt x="1244" y="1120"/>
                    <a:pt x="1188" y="1109"/>
                    <a:pt x="1166" y="1109"/>
                  </a:cubicBezTo>
                  <a:cubicBezTo>
                    <a:pt x="1154" y="1098"/>
                    <a:pt x="1154" y="1053"/>
                    <a:pt x="1166" y="1009"/>
                  </a:cubicBezTo>
                  <a:cubicBezTo>
                    <a:pt x="1166" y="964"/>
                    <a:pt x="1132" y="941"/>
                    <a:pt x="1098" y="908"/>
                  </a:cubicBezTo>
                  <a:cubicBezTo>
                    <a:pt x="1065" y="885"/>
                    <a:pt x="1043" y="908"/>
                    <a:pt x="1009" y="896"/>
                  </a:cubicBezTo>
                  <a:cubicBezTo>
                    <a:pt x="986" y="885"/>
                    <a:pt x="998" y="829"/>
                    <a:pt x="1020" y="796"/>
                  </a:cubicBezTo>
                  <a:cubicBezTo>
                    <a:pt x="1031" y="773"/>
                    <a:pt x="998" y="751"/>
                    <a:pt x="941" y="751"/>
                  </a:cubicBezTo>
                  <a:cubicBezTo>
                    <a:pt x="885" y="762"/>
                    <a:pt x="863" y="773"/>
                    <a:pt x="863" y="717"/>
                  </a:cubicBezTo>
                  <a:cubicBezTo>
                    <a:pt x="863" y="672"/>
                    <a:pt x="885" y="650"/>
                    <a:pt x="897" y="605"/>
                  </a:cubicBezTo>
                  <a:cubicBezTo>
                    <a:pt x="908" y="571"/>
                    <a:pt x="930" y="493"/>
                    <a:pt x="930" y="493"/>
                  </a:cubicBezTo>
                  <a:cubicBezTo>
                    <a:pt x="930" y="493"/>
                    <a:pt x="930" y="482"/>
                    <a:pt x="930" y="471"/>
                  </a:cubicBezTo>
                  <a:cubicBezTo>
                    <a:pt x="908" y="471"/>
                    <a:pt x="852" y="471"/>
                    <a:pt x="807" y="47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18"/>
            <p:cNvSpPr>
              <a:spLocks noChangeArrowheads="1"/>
            </p:cNvSpPr>
            <p:nvPr/>
          </p:nvSpPr>
          <p:spPr bwMode="auto">
            <a:xfrm>
              <a:off x="5330913" y="4912497"/>
              <a:ext cx="272099" cy="206448"/>
            </a:xfrm>
            <a:custGeom>
              <a:avLst/>
              <a:gdLst>
                <a:gd name="T0" fmla="*/ 728 w 785"/>
                <a:gd name="T1" fmla="*/ 257 h 594"/>
                <a:gd name="T2" fmla="*/ 728 w 785"/>
                <a:gd name="T3" fmla="*/ 257 h 594"/>
                <a:gd name="T4" fmla="*/ 762 w 785"/>
                <a:gd name="T5" fmla="*/ 224 h 594"/>
                <a:gd name="T6" fmla="*/ 762 w 785"/>
                <a:gd name="T7" fmla="*/ 134 h 594"/>
                <a:gd name="T8" fmla="*/ 740 w 785"/>
                <a:gd name="T9" fmla="*/ 100 h 594"/>
                <a:gd name="T10" fmla="*/ 695 w 785"/>
                <a:gd name="T11" fmla="*/ 22 h 594"/>
                <a:gd name="T12" fmla="*/ 639 w 785"/>
                <a:gd name="T13" fmla="*/ 11 h 594"/>
                <a:gd name="T14" fmla="*/ 572 w 785"/>
                <a:gd name="T15" fmla="*/ 55 h 594"/>
                <a:gd name="T16" fmla="*/ 527 w 785"/>
                <a:gd name="T17" fmla="*/ 67 h 594"/>
                <a:gd name="T18" fmla="*/ 471 w 785"/>
                <a:gd name="T19" fmla="*/ 44 h 594"/>
                <a:gd name="T20" fmla="*/ 392 w 785"/>
                <a:gd name="T21" fmla="*/ 22 h 594"/>
                <a:gd name="T22" fmla="*/ 336 w 785"/>
                <a:gd name="T23" fmla="*/ 89 h 594"/>
                <a:gd name="T24" fmla="*/ 157 w 785"/>
                <a:gd name="T25" fmla="*/ 134 h 594"/>
                <a:gd name="T26" fmla="*/ 0 w 785"/>
                <a:gd name="T27" fmla="*/ 235 h 594"/>
                <a:gd name="T28" fmla="*/ 45 w 785"/>
                <a:gd name="T29" fmla="*/ 257 h 594"/>
                <a:gd name="T30" fmla="*/ 224 w 785"/>
                <a:gd name="T31" fmla="*/ 380 h 594"/>
                <a:gd name="T32" fmla="*/ 359 w 785"/>
                <a:gd name="T33" fmla="*/ 436 h 594"/>
                <a:gd name="T34" fmla="*/ 459 w 785"/>
                <a:gd name="T35" fmla="*/ 504 h 594"/>
                <a:gd name="T36" fmla="*/ 527 w 785"/>
                <a:gd name="T37" fmla="*/ 571 h 594"/>
                <a:gd name="T38" fmla="*/ 583 w 785"/>
                <a:gd name="T39" fmla="*/ 593 h 594"/>
                <a:gd name="T40" fmla="*/ 583 w 785"/>
                <a:gd name="T41" fmla="*/ 593 h 594"/>
                <a:gd name="T42" fmla="*/ 605 w 785"/>
                <a:gd name="T43" fmla="*/ 526 h 594"/>
                <a:gd name="T44" fmla="*/ 740 w 785"/>
                <a:gd name="T45" fmla="*/ 448 h 594"/>
                <a:gd name="T46" fmla="*/ 784 w 785"/>
                <a:gd name="T47" fmla="*/ 403 h 594"/>
                <a:gd name="T48" fmla="*/ 751 w 785"/>
                <a:gd name="T49" fmla="*/ 358 h 594"/>
                <a:gd name="T50" fmla="*/ 728 w 785"/>
                <a:gd name="T51" fmla="*/ 25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5" h="594">
                  <a:moveTo>
                    <a:pt x="728" y="257"/>
                  </a:moveTo>
                  <a:lnTo>
                    <a:pt x="728" y="257"/>
                  </a:lnTo>
                  <a:cubicBezTo>
                    <a:pt x="751" y="246"/>
                    <a:pt x="773" y="235"/>
                    <a:pt x="762" y="224"/>
                  </a:cubicBezTo>
                  <a:cubicBezTo>
                    <a:pt x="751" y="212"/>
                    <a:pt x="740" y="156"/>
                    <a:pt x="762" y="134"/>
                  </a:cubicBezTo>
                  <a:cubicBezTo>
                    <a:pt x="784" y="123"/>
                    <a:pt x="762" y="100"/>
                    <a:pt x="740" y="100"/>
                  </a:cubicBezTo>
                  <a:cubicBezTo>
                    <a:pt x="717" y="100"/>
                    <a:pt x="695" y="55"/>
                    <a:pt x="695" y="22"/>
                  </a:cubicBezTo>
                  <a:cubicBezTo>
                    <a:pt x="684" y="0"/>
                    <a:pt x="661" y="0"/>
                    <a:pt x="639" y="11"/>
                  </a:cubicBezTo>
                  <a:cubicBezTo>
                    <a:pt x="605" y="33"/>
                    <a:pt x="583" y="22"/>
                    <a:pt x="572" y="55"/>
                  </a:cubicBezTo>
                  <a:cubicBezTo>
                    <a:pt x="560" y="89"/>
                    <a:pt x="538" y="89"/>
                    <a:pt x="527" y="67"/>
                  </a:cubicBezTo>
                  <a:cubicBezTo>
                    <a:pt x="515" y="33"/>
                    <a:pt x="482" y="67"/>
                    <a:pt x="471" y="44"/>
                  </a:cubicBezTo>
                  <a:cubicBezTo>
                    <a:pt x="448" y="22"/>
                    <a:pt x="437" y="33"/>
                    <a:pt x="392" y="22"/>
                  </a:cubicBezTo>
                  <a:cubicBezTo>
                    <a:pt x="359" y="0"/>
                    <a:pt x="348" y="67"/>
                    <a:pt x="336" y="89"/>
                  </a:cubicBezTo>
                  <a:cubicBezTo>
                    <a:pt x="325" y="123"/>
                    <a:pt x="202" y="145"/>
                    <a:pt x="157" y="134"/>
                  </a:cubicBezTo>
                  <a:cubicBezTo>
                    <a:pt x="112" y="134"/>
                    <a:pt x="34" y="201"/>
                    <a:pt x="0" y="235"/>
                  </a:cubicBezTo>
                  <a:cubicBezTo>
                    <a:pt x="22" y="246"/>
                    <a:pt x="34" y="246"/>
                    <a:pt x="45" y="257"/>
                  </a:cubicBezTo>
                  <a:cubicBezTo>
                    <a:pt x="123" y="291"/>
                    <a:pt x="202" y="347"/>
                    <a:pt x="224" y="380"/>
                  </a:cubicBezTo>
                  <a:cubicBezTo>
                    <a:pt x="258" y="414"/>
                    <a:pt x="303" y="425"/>
                    <a:pt x="359" y="436"/>
                  </a:cubicBezTo>
                  <a:cubicBezTo>
                    <a:pt x="403" y="436"/>
                    <a:pt x="448" y="448"/>
                    <a:pt x="459" y="504"/>
                  </a:cubicBezTo>
                  <a:cubicBezTo>
                    <a:pt x="482" y="549"/>
                    <a:pt x="482" y="560"/>
                    <a:pt x="527" y="571"/>
                  </a:cubicBezTo>
                  <a:cubicBezTo>
                    <a:pt x="549" y="582"/>
                    <a:pt x="560" y="582"/>
                    <a:pt x="583" y="593"/>
                  </a:cubicBezTo>
                  <a:lnTo>
                    <a:pt x="583" y="593"/>
                  </a:lnTo>
                  <a:cubicBezTo>
                    <a:pt x="583" y="593"/>
                    <a:pt x="583" y="560"/>
                    <a:pt x="605" y="526"/>
                  </a:cubicBezTo>
                  <a:cubicBezTo>
                    <a:pt x="628" y="481"/>
                    <a:pt x="717" y="459"/>
                    <a:pt x="740" y="448"/>
                  </a:cubicBezTo>
                  <a:cubicBezTo>
                    <a:pt x="762" y="448"/>
                    <a:pt x="773" y="414"/>
                    <a:pt x="784" y="403"/>
                  </a:cubicBezTo>
                  <a:cubicBezTo>
                    <a:pt x="773" y="391"/>
                    <a:pt x="762" y="369"/>
                    <a:pt x="751" y="358"/>
                  </a:cubicBezTo>
                  <a:cubicBezTo>
                    <a:pt x="740" y="336"/>
                    <a:pt x="706" y="257"/>
                    <a:pt x="728" y="25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19"/>
            <p:cNvSpPr>
              <a:spLocks noChangeArrowheads="1"/>
            </p:cNvSpPr>
            <p:nvPr/>
          </p:nvSpPr>
          <p:spPr bwMode="auto">
            <a:xfrm>
              <a:off x="6246572" y="4371145"/>
              <a:ext cx="365346" cy="408308"/>
            </a:xfrm>
            <a:custGeom>
              <a:avLst/>
              <a:gdLst>
                <a:gd name="T0" fmla="*/ 280 w 1054"/>
                <a:gd name="T1" fmla="*/ 1098 h 1177"/>
                <a:gd name="T2" fmla="*/ 280 w 1054"/>
                <a:gd name="T3" fmla="*/ 1098 h 1177"/>
                <a:gd name="T4" fmla="*/ 358 w 1054"/>
                <a:gd name="T5" fmla="*/ 1154 h 1177"/>
                <a:gd name="T6" fmla="*/ 370 w 1054"/>
                <a:gd name="T7" fmla="*/ 1176 h 1177"/>
                <a:gd name="T8" fmla="*/ 448 w 1054"/>
                <a:gd name="T9" fmla="*/ 1143 h 1177"/>
                <a:gd name="T10" fmla="*/ 448 w 1054"/>
                <a:gd name="T11" fmla="*/ 1076 h 1177"/>
                <a:gd name="T12" fmla="*/ 515 w 1054"/>
                <a:gd name="T13" fmla="*/ 1008 h 1177"/>
                <a:gd name="T14" fmla="*/ 527 w 1054"/>
                <a:gd name="T15" fmla="*/ 1008 h 1177"/>
                <a:gd name="T16" fmla="*/ 538 w 1054"/>
                <a:gd name="T17" fmla="*/ 851 h 1177"/>
                <a:gd name="T18" fmla="*/ 560 w 1054"/>
                <a:gd name="T19" fmla="*/ 840 h 1177"/>
                <a:gd name="T20" fmla="*/ 650 w 1054"/>
                <a:gd name="T21" fmla="*/ 795 h 1177"/>
                <a:gd name="T22" fmla="*/ 739 w 1054"/>
                <a:gd name="T23" fmla="*/ 739 h 1177"/>
                <a:gd name="T24" fmla="*/ 751 w 1054"/>
                <a:gd name="T25" fmla="*/ 627 h 1177"/>
                <a:gd name="T26" fmla="*/ 796 w 1054"/>
                <a:gd name="T27" fmla="*/ 582 h 1177"/>
                <a:gd name="T28" fmla="*/ 829 w 1054"/>
                <a:gd name="T29" fmla="*/ 538 h 1177"/>
                <a:gd name="T30" fmla="*/ 818 w 1054"/>
                <a:gd name="T31" fmla="*/ 470 h 1177"/>
                <a:gd name="T32" fmla="*/ 840 w 1054"/>
                <a:gd name="T33" fmla="*/ 403 h 1177"/>
                <a:gd name="T34" fmla="*/ 930 w 1054"/>
                <a:gd name="T35" fmla="*/ 425 h 1177"/>
                <a:gd name="T36" fmla="*/ 975 w 1054"/>
                <a:gd name="T37" fmla="*/ 392 h 1177"/>
                <a:gd name="T38" fmla="*/ 1042 w 1054"/>
                <a:gd name="T39" fmla="*/ 369 h 1177"/>
                <a:gd name="T40" fmla="*/ 1042 w 1054"/>
                <a:gd name="T41" fmla="*/ 291 h 1177"/>
                <a:gd name="T42" fmla="*/ 997 w 1054"/>
                <a:gd name="T43" fmla="*/ 246 h 1177"/>
                <a:gd name="T44" fmla="*/ 997 w 1054"/>
                <a:gd name="T45" fmla="*/ 112 h 1177"/>
                <a:gd name="T46" fmla="*/ 975 w 1054"/>
                <a:gd name="T47" fmla="*/ 33 h 1177"/>
                <a:gd name="T48" fmla="*/ 919 w 1054"/>
                <a:gd name="T49" fmla="*/ 45 h 1177"/>
                <a:gd name="T50" fmla="*/ 863 w 1054"/>
                <a:gd name="T51" fmla="*/ 89 h 1177"/>
                <a:gd name="T52" fmla="*/ 829 w 1054"/>
                <a:gd name="T53" fmla="*/ 134 h 1177"/>
                <a:gd name="T54" fmla="*/ 739 w 1054"/>
                <a:gd name="T55" fmla="*/ 190 h 1177"/>
                <a:gd name="T56" fmla="*/ 639 w 1054"/>
                <a:gd name="T57" fmla="*/ 89 h 1177"/>
                <a:gd name="T58" fmla="*/ 560 w 1054"/>
                <a:gd name="T59" fmla="*/ 134 h 1177"/>
                <a:gd name="T60" fmla="*/ 538 w 1054"/>
                <a:gd name="T61" fmla="*/ 156 h 1177"/>
                <a:gd name="T62" fmla="*/ 560 w 1054"/>
                <a:gd name="T63" fmla="*/ 280 h 1177"/>
                <a:gd name="T64" fmla="*/ 639 w 1054"/>
                <a:gd name="T65" fmla="*/ 291 h 1177"/>
                <a:gd name="T66" fmla="*/ 605 w 1054"/>
                <a:gd name="T67" fmla="*/ 336 h 1177"/>
                <a:gd name="T68" fmla="*/ 538 w 1054"/>
                <a:gd name="T69" fmla="*/ 392 h 1177"/>
                <a:gd name="T70" fmla="*/ 493 w 1054"/>
                <a:gd name="T71" fmla="*/ 358 h 1177"/>
                <a:gd name="T72" fmla="*/ 426 w 1054"/>
                <a:gd name="T73" fmla="*/ 381 h 1177"/>
                <a:gd name="T74" fmla="*/ 392 w 1054"/>
                <a:gd name="T75" fmla="*/ 414 h 1177"/>
                <a:gd name="T76" fmla="*/ 392 w 1054"/>
                <a:gd name="T77" fmla="*/ 504 h 1177"/>
                <a:gd name="T78" fmla="*/ 347 w 1054"/>
                <a:gd name="T79" fmla="*/ 538 h 1177"/>
                <a:gd name="T80" fmla="*/ 314 w 1054"/>
                <a:gd name="T81" fmla="*/ 549 h 1177"/>
                <a:gd name="T82" fmla="*/ 258 w 1054"/>
                <a:gd name="T83" fmla="*/ 538 h 1177"/>
                <a:gd name="T84" fmla="*/ 213 w 1054"/>
                <a:gd name="T85" fmla="*/ 582 h 1177"/>
                <a:gd name="T86" fmla="*/ 123 w 1054"/>
                <a:gd name="T87" fmla="*/ 582 h 1177"/>
                <a:gd name="T88" fmla="*/ 112 w 1054"/>
                <a:gd name="T89" fmla="*/ 549 h 1177"/>
                <a:gd name="T90" fmla="*/ 34 w 1054"/>
                <a:gd name="T91" fmla="*/ 638 h 1177"/>
                <a:gd name="T92" fmla="*/ 34 w 1054"/>
                <a:gd name="T93" fmla="*/ 717 h 1177"/>
                <a:gd name="T94" fmla="*/ 67 w 1054"/>
                <a:gd name="T95" fmla="*/ 751 h 1177"/>
                <a:gd name="T96" fmla="*/ 90 w 1054"/>
                <a:gd name="T97" fmla="*/ 795 h 1177"/>
                <a:gd name="T98" fmla="*/ 112 w 1054"/>
                <a:gd name="T99" fmla="*/ 952 h 1177"/>
                <a:gd name="T100" fmla="*/ 168 w 1054"/>
                <a:gd name="T101" fmla="*/ 975 h 1177"/>
                <a:gd name="T102" fmla="*/ 201 w 1054"/>
                <a:gd name="T103" fmla="*/ 1053 h 1177"/>
                <a:gd name="T104" fmla="*/ 280 w 1054"/>
                <a:gd name="T105" fmla="*/ 1098 h 1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54" h="1177">
                  <a:moveTo>
                    <a:pt x="280" y="1098"/>
                  </a:moveTo>
                  <a:lnTo>
                    <a:pt x="280" y="1098"/>
                  </a:lnTo>
                  <a:cubicBezTo>
                    <a:pt x="325" y="1131"/>
                    <a:pt x="336" y="1143"/>
                    <a:pt x="358" y="1154"/>
                  </a:cubicBezTo>
                  <a:cubicBezTo>
                    <a:pt x="370" y="1165"/>
                    <a:pt x="370" y="1165"/>
                    <a:pt x="370" y="1176"/>
                  </a:cubicBezTo>
                  <a:cubicBezTo>
                    <a:pt x="370" y="1176"/>
                    <a:pt x="437" y="1176"/>
                    <a:pt x="448" y="1143"/>
                  </a:cubicBezTo>
                  <a:cubicBezTo>
                    <a:pt x="459" y="1120"/>
                    <a:pt x="459" y="1098"/>
                    <a:pt x="448" y="1076"/>
                  </a:cubicBezTo>
                  <a:cubicBezTo>
                    <a:pt x="448" y="1053"/>
                    <a:pt x="470" y="997"/>
                    <a:pt x="515" y="1008"/>
                  </a:cubicBezTo>
                  <a:lnTo>
                    <a:pt x="527" y="1008"/>
                  </a:lnTo>
                  <a:cubicBezTo>
                    <a:pt x="538" y="851"/>
                    <a:pt x="538" y="851"/>
                    <a:pt x="538" y="851"/>
                  </a:cubicBezTo>
                  <a:cubicBezTo>
                    <a:pt x="538" y="851"/>
                    <a:pt x="538" y="829"/>
                    <a:pt x="560" y="840"/>
                  </a:cubicBezTo>
                  <a:cubicBezTo>
                    <a:pt x="594" y="840"/>
                    <a:pt x="605" y="818"/>
                    <a:pt x="650" y="795"/>
                  </a:cubicBezTo>
                  <a:cubicBezTo>
                    <a:pt x="695" y="784"/>
                    <a:pt x="728" y="751"/>
                    <a:pt x="739" y="739"/>
                  </a:cubicBezTo>
                  <a:cubicBezTo>
                    <a:pt x="762" y="728"/>
                    <a:pt x="762" y="683"/>
                    <a:pt x="751" y="627"/>
                  </a:cubicBezTo>
                  <a:cubicBezTo>
                    <a:pt x="728" y="582"/>
                    <a:pt x="762" y="582"/>
                    <a:pt x="796" y="582"/>
                  </a:cubicBezTo>
                  <a:cubicBezTo>
                    <a:pt x="829" y="594"/>
                    <a:pt x="807" y="549"/>
                    <a:pt x="829" y="538"/>
                  </a:cubicBezTo>
                  <a:cubicBezTo>
                    <a:pt x="852" y="527"/>
                    <a:pt x="840" y="482"/>
                    <a:pt x="818" y="470"/>
                  </a:cubicBezTo>
                  <a:cubicBezTo>
                    <a:pt x="796" y="459"/>
                    <a:pt x="807" y="414"/>
                    <a:pt x="840" y="403"/>
                  </a:cubicBezTo>
                  <a:cubicBezTo>
                    <a:pt x="863" y="403"/>
                    <a:pt x="908" y="437"/>
                    <a:pt x="930" y="425"/>
                  </a:cubicBezTo>
                  <a:cubicBezTo>
                    <a:pt x="952" y="425"/>
                    <a:pt x="952" y="392"/>
                    <a:pt x="975" y="392"/>
                  </a:cubicBezTo>
                  <a:cubicBezTo>
                    <a:pt x="1008" y="392"/>
                    <a:pt x="1031" y="392"/>
                    <a:pt x="1042" y="369"/>
                  </a:cubicBezTo>
                  <a:cubicBezTo>
                    <a:pt x="1053" y="358"/>
                    <a:pt x="1042" y="313"/>
                    <a:pt x="1042" y="291"/>
                  </a:cubicBezTo>
                  <a:cubicBezTo>
                    <a:pt x="1020" y="302"/>
                    <a:pt x="1008" y="269"/>
                    <a:pt x="997" y="246"/>
                  </a:cubicBezTo>
                  <a:cubicBezTo>
                    <a:pt x="986" y="213"/>
                    <a:pt x="1008" y="123"/>
                    <a:pt x="997" y="112"/>
                  </a:cubicBezTo>
                  <a:cubicBezTo>
                    <a:pt x="986" y="100"/>
                    <a:pt x="975" y="56"/>
                    <a:pt x="975" y="33"/>
                  </a:cubicBezTo>
                  <a:cubicBezTo>
                    <a:pt x="975" y="0"/>
                    <a:pt x="919" y="11"/>
                    <a:pt x="919" y="45"/>
                  </a:cubicBezTo>
                  <a:cubicBezTo>
                    <a:pt x="919" y="78"/>
                    <a:pt x="896" y="89"/>
                    <a:pt x="863" y="89"/>
                  </a:cubicBezTo>
                  <a:cubicBezTo>
                    <a:pt x="829" y="89"/>
                    <a:pt x="840" y="112"/>
                    <a:pt x="829" y="134"/>
                  </a:cubicBezTo>
                  <a:cubicBezTo>
                    <a:pt x="818" y="156"/>
                    <a:pt x="739" y="190"/>
                    <a:pt x="739" y="190"/>
                  </a:cubicBezTo>
                  <a:cubicBezTo>
                    <a:pt x="739" y="190"/>
                    <a:pt x="661" y="112"/>
                    <a:pt x="639" y="89"/>
                  </a:cubicBezTo>
                  <a:cubicBezTo>
                    <a:pt x="616" y="67"/>
                    <a:pt x="583" y="100"/>
                    <a:pt x="560" y="134"/>
                  </a:cubicBezTo>
                  <a:cubicBezTo>
                    <a:pt x="549" y="145"/>
                    <a:pt x="549" y="156"/>
                    <a:pt x="538" y="156"/>
                  </a:cubicBezTo>
                  <a:cubicBezTo>
                    <a:pt x="560" y="280"/>
                    <a:pt x="560" y="280"/>
                    <a:pt x="560" y="280"/>
                  </a:cubicBezTo>
                  <a:cubicBezTo>
                    <a:pt x="560" y="280"/>
                    <a:pt x="616" y="269"/>
                    <a:pt x="639" y="291"/>
                  </a:cubicBezTo>
                  <a:cubicBezTo>
                    <a:pt x="650" y="313"/>
                    <a:pt x="639" y="313"/>
                    <a:pt x="605" y="336"/>
                  </a:cubicBezTo>
                  <a:cubicBezTo>
                    <a:pt x="571" y="358"/>
                    <a:pt x="560" y="403"/>
                    <a:pt x="538" y="392"/>
                  </a:cubicBezTo>
                  <a:cubicBezTo>
                    <a:pt x="515" y="381"/>
                    <a:pt x="504" y="369"/>
                    <a:pt x="493" y="358"/>
                  </a:cubicBezTo>
                  <a:cubicBezTo>
                    <a:pt x="482" y="347"/>
                    <a:pt x="459" y="403"/>
                    <a:pt x="426" y="381"/>
                  </a:cubicBezTo>
                  <a:cubicBezTo>
                    <a:pt x="403" y="358"/>
                    <a:pt x="392" y="369"/>
                    <a:pt x="392" y="414"/>
                  </a:cubicBezTo>
                  <a:cubicBezTo>
                    <a:pt x="403" y="459"/>
                    <a:pt x="414" y="515"/>
                    <a:pt x="392" y="504"/>
                  </a:cubicBezTo>
                  <a:cubicBezTo>
                    <a:pt x="370" y="504"/>
                    <a:pt x="347" y="504"/>
                    <a:pt x="347" y="538"/>
                  </a:cubicBezTo>
                  <a:cubicBezTo>
                    <a:pt x="347" y="571"/>
                    <a:pt x="347" y="560"/>
                    <a:pt x="314" y="549"/>
                  </a:cubicBezTo>
                  <a:cubicBezTo>
                    <a:pt x="280" y="549"/>
                    <a:pt x="269" y="538"/>
                    <a:pt x="258" y="538"/>
                  </a:cubicBezTo>
                  <a:cubicBezTo>
                    <a:pt x="235" y="527"/>
                    <a:pt x="235" y="560"/>
                    <a:pt x="213" y="582"/>
                  </a:cubicBezTo>
                  <a:cubicBezTo>
                    <a:pt x="190" y="594"/>
                    <a:pt x="145" y="594"/>
                    <a:pt x="123" y="582"/>
                  </a:cubicBezTo>
                  <a:cubicBezTo>
                    <a:pt x="112" y="560"/>
                    <a:pt x="112" y="549"/>
                    <a:pt x="112" y="549"/>
                  </a:cubicBezTo>
                  <a:cubicBezTo>
                    <a:pt x="112" y="549"/>
                    <a:pt x="67" y="627"/>
                    <a:pt x="34" y="638"/>
                  </a:cubicBezTo>
                  <a:cubicBezTo>
                    <a:pt x="11" y="650"/>
                    <a:pt x="0" y="717"/>
                    <a:pt x="34" y="717"/>
                  </a:cubicBezTo>
                  <a:cubicBezTo>
                    <a:pt x="78" y="717"/>
                    <a:pt x="78" y="739"/>
                    <a:pt x="67" y="751"/>
                  </a:cubicBezTo>
                  <a:cubicBezTo>
                    <a:pt x="56" y="762"/>
                    <a:pt x="67" y="784"/>
                    <a:pt x="90" y="795"/>
                  </a:cubicBezTo>
                  <a:cubicBezTo>
                    <a:pt x="101" y="795"/>
                    <a:pt x="112" y="941"/>
                    <a:pt x="112" y="952"/>
                  </a:cubicBezTo>
                  <a:cubicBezTo>
                    <a:pt x="101" y="963"/>
                    <a:pt x="157" y="952"/>
                    <a:pt x="168" y="975"/>
                  </a:cubicBezTo>
                  <a:cubicBezTo>
                    <a:pt x="179" y="986"/>
                    <a:pt x="201" y="1053"/>
                    <a:pt x="201" y="1053"/>
                  </a:cubicBezTo>
                  <a:cubicBezTo>
                    <a:pt x="201" y="1020"/>
                    <a:pt x="246" y="1064"/>
                    <a:pt x="280" y="109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6112051" y="2878604"/>
              <a:ext cx="629802" cy="1149991"/>
            </a:xfrm>
            <a:custGeom>
              <a:avLst/>
              <a:gdLst>
                <a:gd name="T0" fmla="*/ 1702 w 1815"/>
                <a:gd name="T1" fmla="*/ 1603 h 3318"/>
                <a:gd name="T2" fmla="*/ 1612 w 1815"/>
                <a:gd name="T3" fmla="*/ 1244 h 3318"/>
                <a:gd name="T4" fmla="*/ 1388 w 1815"/>
                <a:gd name="T5" fmla="*/ 1222 h 3318"/>
                <a:gd name="T6" fmla="*/ 1287 w 1815"/>
                <a:gd name="T7" fmla="*/ 1110 h 3318"/>
                <a:gd name="T8" fmla="*/ 1086 w 1815"/>
                <a:gd name="T9" fmla="*/ 807 h 3318"/>
                <a:gd name="T10" fmla="*/ 918 w 1815"/>
                <a:gd name="T11" fmla="*/ 662 h 3318"/>
                <a:gd name="T12" fmla="*/ 940 w 1815"/>
                <a:gd name="T13" fmla="*/ 471 h 3318"/>
                <a:gd name="T14" fmla="*/ 895 w 1815"/>
                <a:gd name="T15" fmla="*/ 269 h 3318"/>
                <a:gd name="T16" fmla="*/ 873 w 1815"/>
                <a:gd name="T17" fmla="*/ 124 h 3318"/>
                <a:gd name="T18" fmla="*/ 772 w 1815"/>
                <a:gd name="T19" fmla="*/ 101 h 3318"/>
                <a:gd name="T20" fmla="*/ 626 w 1815"/>
                <a:gd name="T21" fmla="*/ 0 h 3318"/>
                <a:gd name="T22" fmla="*/ 380 w 1815"/>
                <a:gd name="T23" fmla="*/ 314 h 3318"/>
                <a:gd name="T24" fmla="*/ 245 w 1815"/>
                <a:gd name="T25" fmla="*/ 505 h 3318"/>
                <a:gd name="T26" fmla="*/ 323 w 1815"/>
                <a:gd name="T27" fmla="*/ 516 h 3318"/>
                <a:gd name="T28" fmla="*/ 357 w 1815"/>
                <a:gd name="T29" fmla="*/ 774 h 3318"/>
                <a:gd name="T30" fmla="*/ 290 w 1815"/>
                <a:gd name="T31" fmla="*/ 762 h 3318"/>
                <a:gd name="T32" fmla="*/ 178 w 1815"/>
                <a:gd name="T33" fmla="*/ 1289 h 3318"/>
                <a:gd name="T34" fmla="*/ 200 w 1815"/>
                <a:gd name="T35" fmla="*/ 1435 h 3318"/>
                <a:gd name="T36" fmla="*/ 323 w 1815"/>
                <a:gd name="T37" fmla="*/ 1558 h 3318"/>
                <a:gd name="T38" fmla="*/ 458 w 1815"/>
                <a:gd name="T39" fmla="*/ 1738 h 3318"/>
                <a:gd name="T40" fmla="*/ 626 w 1815"/>
                <a:gd name="T41" fmla="*/ 1805 h 3318"/>
                <a:gd name="T42" fmla="*/ 436 w 1815"/>
                <a:gd name="T43" fmla="*/ 1849 h 3318"/>
                <a:gd name="T44" fmla="*/ 245 w 1815"/>
                <a:gd name="T45" fmla="*/ 1939 h 3318"/>
                <a:gd name="T46" fmla="*/ 267 w 1815"/>
                <a:gd name="T47" fmla="*/ 2141 h 3318"/>
                <a:gd name="T48" fmla="*/ 267 w 1815"/>
                <a:gd name="T49" fmla="*/ 2253 h 3318"/>
                <a:gd name="T50" fmla="*/ 267 w 1815"/>
                <a:gd name="T51" fmla="*/ 2275 h 3318"/>
                <a:gd name="T52" fmla="*/ 346 w 1815"/>
                <a:gd name="T53" fmla="*/ 2376 h 3318"/>
                <a:gd name="T54" fmla="*/ 436 w 1815"/>
                <a:gd name="T55" fmla="*/ 2610 h 3318"/>
                <a:gd name="T56" fmla="*/ 525 w 1815"/>
                <a:gd name="T57" fmla="*/ 2913 h 3318"/>
                <a:gd name="T58" fmla="*/ 447 w 1815"/>
                <a:gd name="T59" fmla="*/ 3137 h 3318"/>
                <a:gd name="T60" fmla="*/ 514 w 1815"/>
                <a:gd name="T61" fmla="*/ 3272 h 3318"/>
                <a:gd name="T62" fmla="*/ 637 w 1815"/>
                <a:gd name="T63" fmla="*/ 3216 h 3318"/>
                <a:gd name="T64" fmla="*/ 738 w 1815"/>
                <a:gd name="T65" fmla="*/ 3115 h 3318"/>
                <a:gd name="T66" fmla="*/ 861 w 1815"/>
                <a:gd name="T67" fmla="*/ 2846 h 3318"/>
                <a:gd name="T68" fmla="*/ 1052 w 1815"/>
                <a:gd name="T69" fmla="*/ 2666 h 3318"/>
                <a:gd name="T70" fmla="*/ 1052 w 1815"/>
                <a:gd name="T71" fmla="*/ 2666 h 3318"/>
                <a:gd name="T72" fmla="*/ 1052 w 1815"/>
                <a:gd name="T73" fmla="*/ 2655 h 3318"/>
                <a:gd name="T74" fmla="*/ 1052 w 1815"/>
                <a:gd name="T75" fmla="*/ 2644 h 3318"/>
                <a:gd name="T76" fmla="*/ 1052 w 1815"/>
                <a:gd name="T77" fmla="*/ 2622 h 3318"/>
                <a:gd name="T78" fmla="*/ 974 w 1815"/>
                <a:gd name="T79" fmla="*/ 2331 h 3318"/>
                <a:gd name="T80" fmla="*/ 1153 w 1815"/>
                <a:gd name="T81" fmla="*/ 2197 h 3318"/>
                <a:gd name="T82" fmla="*/ 1287 w 1815"/>
                <a:gd name="T83" fmla="*/ 2118 h 3318"/>
                <a:gd name="T84" fmla="*/ 1299 w 1815"/>
                <a:gd name="T85" fmla="*/ 2006 h 3318"/>
                <a:gd name="T86" fmla="*/ 1411 w 1815"/>
                <a:gd name="T87" fmla="*/ 1928 h 3318"/>
                <a:gd name="T88" fmla="*/ 1769 w 1815"/>
                <a:gd name="T89" fmla="*/ 1670 h 3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5" h="3318">
                  <a:moveTo>
                    <a:pt x="1781" y="1614"/>
                  </a:moveTo>
                  <a:lnTo>
                    <a:pt x="1781" y="1614"/>
                  </a:lnTo>
                  <a:cubicBezTo>
                    <a:pt x="1758" y="1614"/>
                    <a:pt x="1702" y="1603"/>
                    <a:pt x="1702" y="1603"/>
                  </a:cubicBezTo>
                  <a:cubicBezTo>
                    <a:pt x="1691" y="1525"/>
                    <a:pt x="1691" y="1525"/>
                    <a:pt x="1691" y="1525"/>
                  </a:cubicBezTo>
                  <a:cubicBezTo>
                    <a:pt x="1680" y="1256"/>
                    <a:pt x="1680" y="1256"/>
                    <a:pt x="1680" y="1256"/>
                  </a:cubicBezTo>
                  <a:cubicBezTo>
                    <a:pt x="1680" y="1256"/>
                    <a:pt x="1657" y="1256"/>
                    <a:pt x="1612" y="1244"/>
                  </a:cubicBezTo>
                  <a:cubicBezTo>
                    <a:pt x="1567" y="1233"/>
                    <a:pt x="1567" y="1256"/>
                    <a:pt x="1534" y="1256"/>
                  </a:cubicBezTo>
                  <a:cubicBezTo>
                    <a:pt x="1500" y="1256"/>
                    <a:pt x="1489" y="1289"/>
                    <a:pt x="1456" y="1278"/>
                  </a:cubicBezTo>
                  <a:cubicBezTo>
                    <a:pt x="1422" y="1267"/>
                    <a:pt x="1411" y="1244"/>
                    <a:pt x="1388" y="1222"/>
                  </a:cubicBezTo>
                  <a:cubicBezTo>
                    <a:pt x="1377" y="1211"/>
                    <a:pt x="1343" y="1222"/>
                    <a:pt x="1354" y="1244"/>
                  </a:cubicBezTo>
                  <a:cubicBezTo>
                    <a:pt x="1366" y="1267"/>
                    <a:pt x="1299" y="1222"/>
                    <a:pt x="1299" y="1222"/>
                  </a:cubicBezTo>
                  <a:cubicBezTo>
                    <a:pt x="1287" y="1110"/>
                    <a:pt x="1287" y="1110"/>
                    <a:pt x="1287" y="1110"/>
                  </a:cubicBezTo>
                  <a:cubicBezTo>
                    <a:pt x="1108" y="1009"/>
                    <a:pt x="1108" y="1009"/>
                    <a:pt x="1108" y="1009"/>
                  </a:cubicBezTo>
                  <a:cubicBezTo>
                    <a:pt x="1142" y="886"/>
                    <a:pt x="1142" y="886"/>
                    <a:pt x="1142" y="886"/>
                  </a:cubicBezTo>
                  <a:cubicBezTo>
                    <a:pt x="1086" y="807"/>
                    <a:pt x="1086" y="807"/>
                    <a:pt x="1086" y="807"/>
                  </a:cubicBezTo>
                  <a:cubicBezTo>
                    <a:pt x="985" y="807"/>
                    <a:pt x="985" y="807"/>
                    <a:pt x="985" y="807"/>
                  </a:cubicBezTo>
                  <a:cubicBezTo>
                    <a:pt x="1030" y="662"/>
                    <a:pt x="1030" y="662"/>
                    <a:pt x="1030" y="662"/>
                  </a:cubicBezTo>
                  <a:cubicBezTo>
                    <a:pt x="918" y="662"/>
                    <a:pt x="918" y="662"/>
                    <a:pt x="918" y="662"/>
                  </a:cubicBezTo>
                  <a:cubicBezTo>
                    <a:pt x="918" y="662"/>
                    <a:pt x="940" y="605"/>
                    <a:pt x="940" y="583"/>
                  </a:cubicBezTo>
                  <a:cubicBezTo>
                    <a:pt x="951" y="561"/>
                    <a:pt x="974" y="549"/>
                    <a:pt x="985" y="538"/>
                  </a:cubicBezTo>
                  <a:cubicBezTo>
                    <a:pt x="996" y="527"/>
                    <a:pt x="940" y="505"/>
                    <a:pt x="940" y="471"/>
                  </a:cubicBezTo>
                  <a:cubicBezTo>
                    <a:pt x="940" y="438"/>
                    <a:pt x="951" y="415"/>
                    <a:pt x="918" y="415"/>
                  </a:cubicBezTo>
                  <a:cubicBezTo>
                    <a:pt x="895" y="404"/>
                    <a:pt x="906" y="370"/>
                    <a:pt x="906" y="325"/>
                  </a:cubicBezTo>
                  <a:cubicBezTo>
                    <a:pt x="918" y="280"/>
                    <a:pt x="929" y="269"/>
                    <a:pt x="895" y="269"/>
                  </a:cubicBezTo>
                  <a:cubicBezTo>
                    <a:pt x="861" y="269"/>
                    <a:pt x="828" y="225"/>
                    <a:pt x="817" y="213"/>
                  </a:cubicBezTo>
                  <a:cubicBezTo>
                    <a:pt x="805" y="202"/>
                    <a:pt x="839" y="157"/>
                    <a:pt x="839" y="157"/>
                  </a:cubicBezTo>
                  <a:cubicBezTo>
                    <a:pt x="873" y="124"/>
                    <a:pt x="873" y="124"/>
                    <a:pt x="873" y="124"/>
                  </a:cubicBezTo>
                  <a:lnTo>
                    <a:pt x="873" y="124"/>
                  </a:lnTo>
                  <a:cubicBezTo>
                    <a:pt x="850" y="112"/>
                    <a:pt x="805" y="56"/>
                    <a:pt x="805" y="56"/>
                  </a:cubicBezTo>
                  <a:cubicBezTo>
                    <a:pt x="805" y="56"/>
                    <a:pt x="783" y="90"/>
                    <a:pt x="772" y="101"/>
                  </a:cubicBezTo>
                  <a:cubicBezTo>
                    <a:pt x="761" y="112"/>
                    <a:pt x="749" y="124"/>
                    <a:pt x="727" y="101"/>
                  </a:cubicBezTo>
                  <a:cubicBezTo>
                    <a:pt x="716" y="79"/>
                    <a:pt x="682" y="67"/>
                    <a:pt x="660" y="45"/>
                  </a:cubicBezTo>
                  <a:cubicBezTo>
                    <a:pt x="637" y="34"/>
                    <a:pt x="626" y="0"/>
                    <a:pt x="626" y="0"/>
                  </a:cubicBezTo>
                  <a:cubicBezTo>
                    <a:pt x="481" y="101"/>
                    <a:pt x="481" y="101"/>
                    <a:pt x="481" y="101"/>
                  </a:cubicBezTo>
                  <a:cubicBezTo>
                    <a:pt x="481" y="280"/>
                    <a:pt x="481" y="280"/>
                    <a:pt x="481" y="280"/>
                  </a:cubicBezTo>
                  <a:cubicBezTo>
                    <a:pt x="481" y="280"/>
                    <a:pt x="402" y="292"/>
                    <a:pt x="380" y="314"/>
                  </a:cubicBezTo>
                  <a:cubicBezTo>
                    <a:pt x="357" y="336"/>
                    <a:pt x="357" y="381"/>
                    <a:pt x="323" y="404"/>
                  </a:cubicBezTo>
                  <a:cubicBezTo>
                    <a:pt x="301" y="415"/>
                    <a:pt x="245" y="415"/>
                    <a:pt x="245" y="415"/>
                  </a:cubicBezTo>
                  <a:cubicBezTo>
                    <a:pt x="245" y="415"/>
                    <a:pt x="256" y="494"/>
                    <a:pt x="245" y="505"/>
                  </a:cubicBezTo>
                  <a:cubicBezTo>
                    <a:pt x="223" y="527"/>
                    <a:pt x="223" y="549"/>
                    <a:pt x="234" y="572"/>
                  </a:cubicBezTo>
                  <a:cubicBezTo>
                    <a:pt x="256" y="583"/>
                    <a:pt x="267" y="572"/>
                    <a:pt x="279" y="549"/>
                  </a:cubicBezTo>
                  <a:cubicBezTo>
                    <a:pt x="290" y="527"/>
                    <a:pt x="290" y="505"/>
                    <a:pt x="323" y="516"/>
                  </a:cubicBezTo>
                  <a:cubicBezTo>
                    <a:pt x="357" y="538"/>
                    <a:pt x="402" y="561"/>
                    <a:pt x="413" y="561"/>
                  </a:cubicBezTo>
                  <a:cubicBezTo>
                    <a:pt x="413" y="572"/>
                    <a:pt x="413" y="729"/>
                    <a:pt x="413" y="740"/>
                  </a:cubicBezTo>
                  <a:cubicBezTo>
                    <a:pt x="413" y="740"/>
                    <a:pt x="357" y="729"/>
                    <a:pt x="357" y="774"/>
                  </a:cubicBezTo>
                  <a:cubicBezTo>
                    <a:pt x="357" y="807"/>
                    <a:pt x="357" y="852"/>
                    <a:pt x="335" y="852"/>
                  </a:cubicBezTo>
                  <a:cubicBezTo>
                    <a:pt x="312" y="852"/>
                    <a:pt x="301" y="852"/>
                    <a:pt x="301" y="818"/>
                  </a:cubicBezTo>
                  <a:cubicBezTo>
                    <a:pt x="290" y="785"/>
                    <a:pt x="290" y="762"/>
                    <a:pt x="290" y="762"/>
                  </a:cubicBezTo>
                  <a:cubicBezTo>
                    <a:pt x="0" y="1043"/>
                    <a:pt x="0" y="1043"/>
                    <a:pt x="0" y="1043"/>
                  </a:cubicBezTo>
                  <a:cubicBezTo>
                    <a:pt x="178" y="1256"/>
                    <a:pt x="178" y="1256"/>
                    <a:pt x="178" y="1256"/>
                  </a:cubicBezTo>
                  <a:cubicBezTo>
                    <a:pt x="178" y="1256"/>
                    <a:pt x="200" y="1267"/>
                    <a:pt x="178" y="1289"/>
                  </a:cubicBezTo>
                  <a:cubicBezTo>
                    <a:pt x="167" y="1300"/>
                    <a:pt x="167" y="1334"/>
                    <a:pt x="200" y="1323"/>
                  </a:cubicBezTo>
                  <a:cubicBezTo>
                    <a:pt x="234" y="1323"/>
                    <a:pt x="234" y="1334"/>
                    <a:pt x="212" y="1356"/>
                  </a:cubicBezTo>
                  <a:cubicBezTo>
                    <a:pt x="189" y="1379"/>
                    <a:pt x="212" y="1424"/>
                    <a:pt x="200" y="1435"/>
                  </a:cubicBezTo>
                  <a:cubicBezTo>
                    <a:pt x="200" y="1446"/>
                    <a:pt x="245" y="1457"/>
                    <a:pt x="245" y="1480"/>
                  </a:cubicBezTo>
                  <a:cubicBezTo>
                    <a:pt x="245" y="1502"/>
                    <a:pt x="245" y="1547"/>
                    <a:pt x="279" y="1536"/>
                  </a:cubicBezTo>
                  <a:cubicBezTo>
                    <a:pt x="312" y="1525"/>
                    <a:pt x="323" y="1525"/>
                    <a:pt x="323" y="1558"/>
                  </a:cubicBezTo>
                  <a:cubicBezTo>
                    <a:pt x="312" y="1580"/>
                    <a:pt x="312" y="1592"/>
                    <a:pt x="357" y="1592"/>
                  </a:cubicBezTo>
                  <a:cubicBezTo>
                    <a:pt x="391" y="1580"/>
                    <a:pt x="402" y="1592"/>
                    <a:pt x="413" y="1636"/>
                  </a:cubicBezTo>
                  <a:cubicBezTo>
                    <a:pt x="413" y="1670"/>
                    <a:pt x="436" y="1726"/>
                    <a:pt x="458" y="1738"/>
                  </a:cubicBezTo>
                  <a:cubicBezTo>
                    <a:pt x="481" y="1749"/>
                    <a:pt x="503" y="1726"/>
                    <a:pt x="514" y="1760"/>
                  </a:cubicBezTo>
                  <a:cubicBezTo>
                    <a:pt x="536" y="1782"/>
                    <a:pt x="548" y="1782"/>
                    <a:pt x="581" y="1771"/>
                  </a:cubicBezTo>
                  <a:cubicBezTo>
                    <a:pt x="615" y="1771"/>
                    <a:pt x="626" y="1782"/>
                    <a:pt x="626" y="1805"/>
                  </a:cubicBezTo>
                  <a:cubicBezTo>
                    <a:pt x="637" y="1838"/>
                    <a:pt x="649" y="1838"/>
                    <a:pt x="604" y="1849"/>
                  </a:cubicBezTo>
                  <a:cubicBezTo>
                    <a:pt x="559" y="1872"/>
                    <a:pt x="525" y="1894"/>
                    <a:pt x="503" y="1872"/>
                  </a:cubicBezTo>
                  <a:cubicBezTo>
                    <a:pt x="481" y="1861"/>
                    <a:pt x="469" y="1838"/>
                    <a:pt x="436" y="1849"/>
                  </a:cubicBezTo>
                  <a:cubicBezTo>
                    <a:pt x="402" y="1861"/>
                    <a:pt x="402" y="1838"/>
                    <a:pt x="380" y="1816"/>
                  </a:cubicBezTo>
                  <a:cubicBezTo>
                    <a:pt x="368" y="1805"/>
                    <a:pt x="357" y="1805"/>
                    <a:pt x="323" y="1838"/>
                  </a:cubicBezTo>
                  <a:cubicBezTo>
                    <a:pt x="290" y="1872"/>
                    <a:pt x="245" y="1928"/>
                    <a:pt x="245" y="1939"/>
                  </a:cubicBezTo>
                  <a:cubicBezTo>
                    <a:pt x="245" y="1962"/>
                    <a:pt x="223" y="2029"/>
                    <a:pt x="256" y="2018"/>
                  </a:cubicBezTo>
                  <a:cubicBezTo>
                    <a:pt x="290" y="2006"/>
                    <a:pt x="279" y="2040"/>
                    <a:pt x="256" y="2074"/>
                  </a:cubicBezTo>
                  <a:cubicBezTo>
                    <a:pt x="234" y="2096"/>
                    <a:pt x="234" y="2129"/>
                    <a:pt x="267" y="2141"/>
                  </a:cubicBezTo>
                  <a:cubicBezTo>
                    <a:pt x="290" y="2152"/>
                    <a:pt x="290" y="2197"/>
                    <a:pt x="279" y="2242"/>
                  </a:cubicBezTo>
                  <a:cubicBezTo>
                    <a:pt x="279" y="2242"/>
                    <a:pt x="279" y="2242"/>
                    <a:pt x="279" y="2253"/>
                  </a:cubicBezTo>
                  <a:cubicBezTo>
                    <a:pt x="267" y="2253"/>
                    <a:pt x="267" y="2253"/>
                    <a:pt x="267" y="2253"/>
                  </a:cubicBezTo>
                  <a:cubicBezTo>
                    <a:pt x="267" y="2264"/>
                    <a:pt x="267" y="2264"/>
                    <a:pt x="267" y="2264"/>
                  </a:cubicBezTo>
                  <a:lnTo>
                    <a:pt x="267" y="2264"/>
                  </a:lnTo>
                  <a:cubicBezTo>
                    <a:pt x="267" y="2264"/>
                    <a:pt x="267" y="2264"/>
                    <a:pt x="267" y="2275"/>
                  </a:cubicBezTo>
                  <a:lnTo>
                    <a:pt x="267" y="2275"/>
                  </a:lnTo>
                  <a:cubicBezTo>
                    <a:pt x="267" y="2287"/>
                    <a:pt x="267" y="2298"/>
                    <a:pt x="267" y="2320"/>
                  </a:cubicBezTo>
                  <a:cubicBezTo>
                    <a:pt x="267" y="2320"/>
                    <a:pt x="301" y="2342"/>
                    <a:pt x="346" y="2376"/>
                  </a:cubicBezTo>
                  <a:cubicBezTo>
                    <a:pt x="391" y="2421"/>
                    <a:pt x="413" y="2443"/>
                    <a:pt x="402" y="2466"/>
                  </a:cubicBezTo>
                  <a:cubicBezTo>
                    <a:pt x="391" y="2488"/>
                    <a:pt x="380" y="2522"/>
                    <a:pt x="402" y="2544"/>
                  </a:cubicBezTo>
                  <a:cubicBezTo>
                    <a:pt x="436" y="2566"/>
                    <a:pt x="447" y="2588"/>
                    <a:pt x="436" y="2610"/>
                  </a:cubicBezTo>
                  <a:cubicBezTo>
                    <a:pt x="425" y="2644"/>
                    <a:pt x="413" y="2768"/>
                    <a:pt x="447" y="2801"/>
                  </a:cubicBezTo>
                  <a:cubicBezTo>
                    <a:pt x="481" y="2846"/>
                    <a:pt x="481" y="2823"/>
                    <a:pt x="481" y="2868"/>
                  </a:cubicBezTo>
                  <a:cubicBezTo>
                    <a:pt x="481" y="2902"/>
                    <a:pt x="492" y="2902"/>
                    <a:pt x="525" y="2913"/>
                  </a:cubicBezTo>
                  <a:cubicBezTo>
                    <a:pt x="548" y="2924"/>
                    <a:pt x="536" y="2947"/>
                    <a:pt x="492" y="2947"/>
                  </a:cubicBezTo>
                  <a:cubicBezTo>
                    <a:pt x="458" y="2958"/>
                    <a:pt x="447" y="2980"/>
                    <a:pt x="447" y="3025"/>
                  </a:cubicBezTo>
                  <a:cubicBezTo>
                    <a:pt x="447" y="3059"/>
                    <a:pt x="436" y="3137"/>
                    <a:pt x="447" y="3137"/>
                  </a:cubicBezTo>
                  <a:cubicBezTo>
                    <a:pt x="469" y="3148"/>
                    <a:pt x="481" y="3159"/>
                    <a:pt x="458" y="3193"/>
                  </a:cubicBezTo>
                  <a:cubicBezTo>
                    <a:pt x="447" y="3216"/>
                    <a:pt x="447" y="3261"/>
                    <a:pt x="458" y="3261"/>
                  </a:cubicBezTo>
                  <a:cubicBezTo>
                    <a:pt x="481" y="3261"/>
                    <a:pt x="514" y="3261"/>
                    <a:pt x="514" y="3272"/>
                  </a:cubicBezTo>
                  <a:cubicBezTo>
                    <a:pt x="525" y="3294"/>
                    <a:pt x="503" y="3317"/>
                    <a:pt x="559" y="3305"/>
                  </a:cubicBezTo>
                  <a:cubicBezTo>
                    <a:pt x="604" y="3305"/>
                    <a:pt x="592" y="3294"/>
                    <a:pt x="592" y="3249"/>
                  </a:cubicBezTo>
                  <a:cubicBezTo>
                    <a:pt x="592" y="3216"/>
                    <a:pt x="615" y="3193"/>
                    <a:pt x="637" y="3216"/>
                  </a:cubicBezTo>
                  <a:cubicBezTo>
                    <a:pt x="649" y="3238"/>
                    <a:pt x="660" y="3249"/>
                    <a:pt x="682" y="3249"/>
                  </a:cubicBezTo>
                  <a:lnTo>
                    <a:pt x="694" y="3238"/>
                  </a:lnTo>
                  <a:cubicBezTo>
                    <a:pt x="716" y="3216"/>
                    <a:pt x="716" y="3137"/>
                    <a:pt x="738" y="3115"/>
                  </a:cubicBezTo>
                  <a:cubicBezTo>
                    <a:pt x="749" y="3092"/>
                    <a:pt x="783" y="3092"/>
                    <a:pt x="805" y="3104"/>
                  </a:cubicBezTo>
                  <a:cubicBezTo>
                    <a:pt x="828" y="3115"/>
                    <a:pt x="839" y="3092"/>
                    <a:pt x="828" y="3048"/>
                  </a:cubicBezTo>
                  <a:cubicBezTo>
                    <a:pt x="828" y="3003"/>
                    <a:pt x="839" y="2857"/>
                    <a:pt x="861" y="2846"/>
                  </a:cubicBezTo>
                  <a:cubicBezTo>
                    <a:pt x="895" y="2835"/>
                    <a:pt x="974" y="2846"/>
                    <a:pt x="1041" y="2835"/>
                  </a:cubicBezTo>
                  <a:cubicBezTo>
                    <a:pt x="1108" y="2812"/>
                    <a:pt x="1164" y="2790"/>
                    <a:pt x="1130" y="2756"/>
                  </a:cubicBezTo>
                  <a:cubicBezTo>
                    <a:pt x="1097" y="2734"/>
                    <a:pt x="1052" y="2700"/>
                    <a:pt x="1052" y="2666"/>
                  </a:cubicBezTo>
                  <a:lnTo>
                    <a:pt x="1052" y="2666"/>
                  </a:lnTo>
                  <a:lnTo>
                    <a:pt x="1052" y="2666"/>
                  </a:lnTo>
                  <a:lnTo>
                    <a:pt x="1052" y="2666"/>
                  </a:lnTo>
                  <a:lnTo>
                    <a:pt x="1052" y="2666"/>
                  </a:lnTo>
                  <a:cubicBezTo>
                    <a:pt x="1052" y="2655"/>
                    <a:pt x="1052" y="2655"/>
                    <a:pt x="1052" y="2655"/>
                  </a:cubicBezTo>
                  <a:lnTo>
                    <a:pt x="1052" y="2655"/>
                  </a:lnTo>
                  <a:cubicBezTo>
                    <a:pt x="1052" y="2655"/>
                    <a:pt x="1052" y="2655"/>
                    <a:pt x="1052" y="2644"/>
                  </a:cubicBezTo>
                  <a:lnTo>
                    <a:pt x="1052" y="2644"/>
                  </a:lnTo>
                  <a:lnTo>
                    <a:pt x="1052" y="2644"/>
                  </a:lnTo>
                  <a:cubicBezTo>
                    <a:pt x="1052" y="2633"/>
                    <a:pt x="1052" y="2633"/>
                    <a:pt x="1052" y="2633"/>
                  </a:cubicBezTo>
                  <a:lnTo>
                    <a:pt x="1052" y="2633"/>
                  </a:lnTo>
                  <a:cubicBezTo>
                    <a:pt x="1052" y="2633"/>
                    <a:pt x="1052" y="2633"/>
                    <a:pt x="1052" y="2622"/>
                  </a:cubicBezTo>
                  <a:lnTo>
                    <a:pt x="1052" y="2610"/>
                  </a:lnTo>
                  <a:cubicBezTo>
                    <a:pt x="1041" y="2533"/>
                    <a:pt x="1041" y="2432"/>
                    <a:pt x="1030" y="2421"/>
                  </a:cubicBezTo>
                  <a:cubicBezTo>
                    <a:pt x="1018" y="2398"/>
                    <a:pt x="985" y="2376"/>
                    <a:pt x="974" y="2331"/>
                  </a:cubicBezTo>
                  <a:cubicBezTo>
                    <a:pt x="974" y="2287"/>
                    <a:pt x="962" y="2242"/>
                    <a:pt x="996" y="2242"/>
                  </a:cubicBezTo>
                  <a:cubicBezTo>
                    <a:pt x="1018" y="2253"/>
                    <a:pt x="1086" y="2253"/>
                    <a:pt x="1097" y="2231"/>
                  </a:cubicBezTo>
                  <a:cubicBezTo>
                    <a:pt x="1108" y="2208"/>
                    <a:pt x="1130" y="2174"/>
                    <a:pt x="1153" y="2197"/>
                  </a:cubicBezTo>
                  <a:cubicBezTo>
                    <a:pt x="1175" y="2208"/>
                    <a:pt x="1198" y="2163"/>
                    <a:pt x="1198" y="2129"/>
                  </a:cubicBezTo>
                  <a:cubicBezTo>
                    <a:pt x="1198" y="2107"/>
                    <a:pt x="1209" y="2118"/>
                    <a:pt x="1231" y="2141"/>
                  </a:cubicBezTo>
                  <a:cubicBezTo>
                    <a:pt x="1254" y="2152"/>
                    <a:pt x="1276" y="2141"/>
                    <a:pt x="1287" y="2118"/>
                  </a:cubicBezTo>
                  <a:cubicBezTo>
                    <a:pt x="1299" y="2096"/>
                    <a:pt x="1310" y="2118"/>
                    <a:pt x="1321" y="2096"/>
                  </a:cubicBezTo>
                  <a:cubicBezTo>
                    <a:pt x="1332" y="2074"/>
                    <a:pt x="1343" y="2051"/>
                    <a:pt x="1310" y="2040"/>
                  </a:cubicBezTo>
                  <a:cubicBezTo>
                    <a:pt x="1276" y="2029"/>
                    <a:pt x="1276" y="2006"/>
                    <a:pt x="1299" y="2006"/>
                  </a:cubicBezTo>
                  <a:cubicBezTo>
                    <a:pt x="1332" y="1995"/>
                    <a:pt x="1343" y="1973"/>
                    <a:pt x="1354" y="1950"/>
                  </a:cubicBezTo>
                  <a:cubicBezTo>
                    <a:pt x="1354" y="1928"/>
                    <a:pt x="1377" y="1939"/>
                    <a:pt x="1377" y="1917"/>
                  </a:cubicBezTo>
                  <a:cubicBezTo>
                    <a:pt x="1388" y="1883"/>
                    <a:pt x="1399" y="1905"/>
                    <a:pt x="1411" y="1928"/>
                  </a:cubicBezTo>
                  <a:cubicBezTo>
                    <a:pt x="1422" y="1939"/>
                    <a:pt x="1456" y="1928"/>
                    <a:pt x="1478" y="1905"/>
                  </a:cubicBezTo>
                  <a:cubicBezTo>
                    <a:pt x="1512" y="1872"/>
                    <a:pt x="1713" y="1693"/>
                    <a:pt x="1713" y="1693"/>
                  </a:cubicBezTo>
                  <a:cubicBezTo>
                    <a:pt x="1713" y="1693"/>
                    <a:pt x="1758" y="1704"/>
                    <a:pt x="1769" y="1670"/>
                  </a:cubicBezTo>
                  <a:cubicBezTo>
                    <a:pt x="1792" y="1636"/>
                    <a:pt x="1814" y="1614"/>
                    <a:pt x="1781" y="161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21"/>
            <p:cNvSpPr>
              <a:spLocks noChangeArrowheads="1"/>
            </p:cNvSpPr>
            <p:nvPr/>
          </p:nvSpPr>
          <p:spPr bwMode="auto">
            <a:xfrm>
              <a:off x="6347462" y="2922952"/>
              <a:ext cx="660375" cy="1305973"/>
            </a:xfrm>
            <a:custGeom>
              <a:avLst/>
              <a:gdLst>
                <a:gd name="T0" fmla="*/ 1894 w 1906"/>
                <a:gd name="T1" fmla="*/ 1120 h 3765"/>
                <a:gd name="T2" fmla="*/ 1670 w 1906"/>
                <a:gd name="T3" fmla="*/ 1210 h 3765"/>
                <a:gd name="T4" fmla="*/ 1143 w 1906"/>
                <a:gd name="T5" fmla="*/ 1064 h 3765"/>
                <a:gd name="T6" fmla="*/ 941 w 1906"/>
                <a:gd name="T7" fmla="*/ 952 h 3765"/>
                <a:gd name="T8" fmla="*/ 605 w 1906"/>
                <a:gd name="T9" fmla="*/ 874 h 3765"/>
                <a:gd name="T10" fmla="*/ 505 w 1906"/>
                <a:gd name="T11" fmla="*/ 706 h 3765"/>
                <a:gd name="T12" fmla="*/ 426 w 1906"/>
                <a:gd name="T13" fmla="*/ 616 h 3765"/>
                <a:gd name="T14" fmla="*/ 348 w 1906"/>
                <a:gd name="T15" fmla="*/ 123 h 3765"/>
                <a:gd name="T16" fmla="*/ 135 w 1906"/>
                <a:gd name="T17" fmla="*/ 89 h 3765"/>
                <a:gd name="T18" fmla="*/ 236 w 1906"/>
                <a:gd name="T19" fmla="*/ 291 h 3765"/>
                <a:gd name="T20" fmla="*/ 258 w 1906"/>
                <a:gd name="T21" fmla="*/ 459 h 3765"/>
                <a:gd name="T22" fmla="*/ 303 w 1906"/>
                <a:gd name="T23" fmla="*/ 683 h 3765"/>
                <a:gd name="T24" fmla="*/ 426 w 1906"/>
                <a:gd name="T25" fmla="*/ 885 h 3765"/>
                <a:gd name="T26" fmla="*/ 672 w 1906"/>
                <a:gd name="T27" fmla="*/ 1120 h 3765"/>
                <a:gd name="T28" fmla="*/ 852 w 1906"/>
                <a:gd name="T29" fmla="*/ 1132 h 3765"/>
                <a:gd name="T30" fmla="*/ 1009 w 1906"/>
                <a:gd name="T31" fmla="*/ 1401 h 3765"/>
                <a:gd name="T32" fmla="*/ 1087 w 1906"/>
                <a:gd name="T33" fmla="*/ 1546 h 3765"/>
                <a:gd name="T34" fmla="*/ 729 w 1906"/>
                <a:gd name="T35" fmla="*/ 1804 h 3765"/>
                <a:gd name="T36" fmla="*/ 617 w 1906"/>
                <a:gd name="T37" fmla="*/ 1882 h 3765"/>
                <a:gd name="T38" fmla="*/ 605 w 1906"/>
                <a:gd name="T39" fmla="*/ 1994 h 3765"/>
                <a:gd name="T40" fmla="*/ 471 w 1906"/>
                <a:gd name="T41" fmla="*/ 2073 h 3765"/>
                <a:gd name="T42" fmla="*/ 292 w 1906"/>
                <a:gd name="T43" fmla="*/ 2207 h 3765"/>
                <a:gd name="T44" fmla="*/ 370 w 1906"/>
                <a:gd name="T45" fmla="*/ 2520 h 3765"/>
                <a:gd name="T46" fmla="*/ 370 w 1906"/>
                <a:gd name="T47" fmla="*/ 2531 h 3765"/>
                <a:gd name="T48" fmla="*/ 370 w 1906"/>
                <a:gd name="T49" fmla="*/ 2542 h 3765"/>
                <a:gd name="T50" fmla="*/ 370 w 1906"/>
                <a:gd name="T51" fmla="*/ 2542 h 3765"/>
                <a:gd name="T52" fmla="*/ 359 w 1906"/>
                <a:gd name="T53" fmla="*/ 2711 h 3765"/>
                <a:gd name="T54" fmla="*/ 123 w 1906"/>
                <a:gd name="T55" fmla="*/ 2980 h 3765"/>
                <a:gd name="T56" fmla="*/ 0 w 1906"/>
                <a:gd name="T57" fmla="*/ 3125 h 3765"/>
                <a:gd name="T58" fmla="*/ 90 w 1906"/>
                <a:gd name="T59" fmla="*/ 3226 h 3765"/>
                <a:gd name="T60" fmla="*/ 67 w 1906"/>
                <a:gd name="T61" fmla="*/ 3428 h 3765"/>
                <a:gd name="T62" fmla="*/ 269 w 1906"/>
                <a:gd name="T63" fmla="*/ 3529 h 3765"/>
                <a:gd name="T64" fmla="*/ 437 w 1906"/>
                <a:gd name="T65" fmla="*/ 3473 h 3765"/>
                <a:gd name="T66" fmla="*/ 594 w 1906"/>
                <a:gd name="T67" fmla="*/ 3573 h 3765"/>
                <a:gd name="T68" fmla="*/ 628 w 1906"/>
                <a:gd name="T69" fmla="*/ 3697 h 3765"/>
                <a:gd name="T70" fmla="*/ 863 w 1906"/>
                <a:gd name="T71" fmla="*/ 3719 h 3765"/>
                <a:gd name="T72" fmla="*/ 1054 w 1906"/>
                <a:gd name="T73" fmla="*/ 3708 h 3765"/>
                <a:gd name="T74" fmla="*/ 1054 w 1906"/>
                <a:gd name="T75" fmla="*/ 3708 h 3765"/>
                <a:gd name="T76" fmla="*/ 1065 w 1906"/>
                <a:gd name="T77" fmla="*/ 3708 h 3765"/>
                <a:gd name="T78" fmla="*/ 1065 w 1906"/>
                <a:gd name="T79" fmla="*/ 3708 h 3765"/>
                <a:gd name="T80" fmla="*/ 1065 w 1906"/>
                <a:gd name="T81" fmla="*/ 3708 h 3765"/>
                <a:gd name="T82" fmla="*/ 1065 w 1906"/>
                <a:gd name="T83" fmla="*/ 3708 h 3765"/>
                <a:gd name="T84" fmla="*/ 1166 w 1906"/>
                <a:gd name="T85" fmla="*/ 3686 h 3765"/>
                <a:gd name="T86" fmla="*/ 1479 w 1906"/>
                <a:gd name="T87" fmla="*/ 3764 h 3765"/>
                <a:gd name="T88" fmla="*/ 1524 w 1906"/>
                <a:gd name="T89" fmla="*/ 3708 h 3765"/>
                <a:gd name="T90" fmla="*/ 1547 w 1906"/>
                <a:gd name="T91" fmla="*/ 3271 h 3765"/>
                <a:gd name="T92" fmla="*/ 1524 w 1906"/>
                <a:gd name="T93" fmla="*/ 3013 h 3765"/>
                <a:gd name="T94" fmla="*/ 1457 w 1906"/>
                <a:gd name="T95" fmla="*/ 2688 h 3765"/>
                <a:gd name="T96" fmla="*/ 1524 w 1906"/>
                <a:gd name="T97" fmla="*/ 2565 h 3765"/>
                <a:gd name="T98" fmla="*/ 1536 w 1906"/>
                <a:gd name="T99" fmla="*/ 2431 h 3765"/>
                <a:gd name="T100" fmla="*/ 1479 w 1906"/>
                <a:gd name="T101" fmla="*/ 2263 h 3765"/>
                <a:gd name="T102" fmla="*/ 1468 w 1906"/>
                <a:gd name="T103" fmla="*/ 2185 h 3765"/>
                <a:gd name="T104" fmla="*/ 1524 w 1906"/>
                <a:gd name="T105" fmla="*/ 2140 h 3765"/>
                <a:gd name="T106" fmla="*/ 1524 w 1906"/>
                <a:gd name="T107" fmla="*/ 1894 h 3765"/>
                <a:gd name="T108" fmla="*/ 1536 w 1906"/>
                <a:gd name="T109" fmla="*/ 1770 h 3765"/>
                <a:gd name="T110" fmla="*/ 1513 w 1906"/>
                <a:gd name="T111" fmla="*/ 1669 h 3765"/>
                <a:gd name="T112" fmla="*/ 1558 w 1906"/>
                <a:gd name="T113" fmla="*/ 1591 h 3765"/>
                <a:gd name="T114" fmla="*/ 1692 w 1906"/>
                <a:gd name="T115" fmla="*/ 1591 h 3765"/>
                <a:gd name="T116" fmla="*/ 1681 w 1906"/>
                <a:gd name="T117" fmla="*/ 1815 h 3765"/>
                <a:gd name="T118" fmla="*/ 1861 w 1906"/>
                <a:gd name="T119" fmla="*/ 1356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6" h="3765">
                  <a:moveTo>
                    <a:pt x="1905" y="1210"/>
                  </a:moveTo>
                  <a:lnTo>
                    <a:pt x="1905" y="1210"/>
                  </a:lnTo>
                  <a:cubicBezTo>
                    <a:pt x="1905" y="1187"/>
                    <a:pt x="1894" y="1154"/>
                    <a:pt x="1894" y="1120"/>
                  </a:cubicBezTo>
                  <a:cubicBezTo>
                    <a:pt x="1872" y="1120"/>
                    <a:pt x="1838" y="1132"/>
                    <a:pt x="1816" y="1143"/>
                  </a:cubicBezTo>
                  <a:cubicBezTo>
                    <a:pt x="1782" y="1165"/>
                    <a:pt x="1771" y="1176"/>
                    <a:pt x="1748" y="1176"/>
                  </a:cubicBezTo>
                  <a:cubicBezTo>
                    <a:pt x="1715" y="1176"/>
                    <a:pt x="1704" y="1210"/>
                    <a:pt x="1670" y="1210"/>
                  </a:cubicBezTo>
                  <a:cubicBezTo>
                    <a:pt x="1636" y="1210"/>
                    <a:pt x="1592" y="1132"/>
                    <a:pt x="1558" y="1120"/>
                  </a:cubicBezTo>
                  <a:cubicBezTo>
                    <a:pt x="1536" y="1109"/>
                    <a:pt x="1289" y="1120"/>
                    <a:pt x="1222" y="1120"/>
                  </a:cubicBezTo>
                  <a:cubicBezTo>
                    <a:pt x="1154" y="1120"/>
                    <a:pt x="1166" y="1098"/>
                    <a:pt x="1143" y="1064"/>
                  </a:cubicBezTo>
                  <a:cubicBezTo>
                    <a:pt x="1121" y="1042"/>
                    <a:pt x="1099" y="1053"/>
                    <a:pt x="1065" y="1053"/>
                  </a:cubicBezTo>
                  <a:cubicBezTo>
                    <a:pt x="1020" y="1053"/>
                    <a:pt x="1043" y="997"/>
                    <a:pt x="1020" y="997"/>
                  </a:cubicBezTo>
                  <a:cubicBezTo>
                    <a:pt x="998" y="997"/>
                    <a:pt x="975" y="974"/>
                    <a:pt x="941" y="952"/>
                  </a:cubicBezTo>
                  <a:cubicBezTo>
                    <a:pt x="897" y="930"/>
                    <a:pt x="885" y="930"/>
                    <a:pt x="818" y="919"/>
                  </a:cubicBezTo>
                  <a:cubicBezTo>
                    <a:pt x="751" y="919"/>
                    <a:pt x="695" y="874"/>
                    <a:pt x="672" y="863"/>
                  </a:cubicBezTo>
                  <a:cubicBezTo>
                    <a:pt x="661" y="851"/>
                    <a:pt x="639" y="885"/>
                    <a:pt x="605" y="874"/>
                  </a:cubicBezTo>
                  <a:cubicBezTo>
                    <a:pt x="572" y="851"/>
                    <a:pt x="538" y="795"/>
                    <a:pt x="527" y="773"/>
                  </a:cubicBezTo>
                  <a:cubicBezTo>
                    <a:pt x="516" y="750"/>
                    <a:pt x="482" y="762"/>
                    <a:pt x="471" y="750"/>
                  </a:cubicBezTo>
                  <a:cubicBezTo>
                    <a:pt x="471" y="728"/>
                    <a:pt x="493" y="728"/>
                    <a:pt x="505" y="706"/>
                  </a:cubicBezTo>
                  <a:cubicBezTo>
                    <a:pt x="505" y="694"/>
                    <a:pt x="482" y="650"/>
                    <a:pt x="471" y="661"/>
                  </a:cubicBezTo>
                  <a:cubicBezTo>
                    <a:pt x="471" y="672"/>
                    <a:pt x="437" y="683"/>
                    <a:pt x="426" y="661"/>
                  </a:cubicBezTo>
                  <a:cubicBezTo>
                    <a:pt x="404" y="638"/>
                    <a:pt x="426" y="627"/>
                    <a:pt x="426" y="616"/>
                  </a:cubicBezTo>
                  <a:cubicBezTo>
                    <a:pt x="415" y="605"/>
                    <a:pt x="392" y="549"/>
                    <a:pt x="381" y="493"/>
                  </a:cubicBezTo>
                  <a:cubicBezTo>
                    <a:pt x="370" y="437"/>
                    <a:pt x="404" y="470"/>
                    <a:pt x="392" y="448"/>
                  </a:cubicBezTo>
                  <a:cubicBezTo>
                    <a:pt x="381" y="425"/>
                    <a:pt x="359" y="168"/>
                    <a:pt x="348" y="123"/>
                  </a:cubicBezTo>
                  <a:cubicBezTo>
                    <a:pt x="325" y="89"/>
                    <a:pt x="202" y="11"/>
                    <a:pt x="191" y="0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7" y="33"/>
                    <a:pt x="123" y="78"/>
                    <a:pt x="135" y="89"/>
                  </a:cubicBezTo>
                  <a:cubicBezTo>
                    <a:pt x="146" y="101"/>
                    <a:pt x="179" y="145"/>
                    <a:pt x="213" y="145"/>
                  </a:cubicBezTo>
                  <a:cubicBezTo>
                    <a:pt x="247" y="145"/>
                    <a:pt x="236" y="156"/>
                    <a:pt x="224" y="201"/>
                  </a:cubicBezTo>
                  <a:cubicBezTo>
                    <a:pt x="224" y="246"/>
                    <a:pt x="213" y="280"/>
                    <a:pt x="236" y="291"/>
                  </a:cubicBezTo>
                  <a:cubicBezTo>
                    <a:pt x="269" y="291"/>
                    <a:pt x="258" y="314"/>
                    <a:pt x="258" y="347"/>
                  </a:cubicBezTo>
                  <a:cubicBezTo>
                    <a:pt x="258" y="381"/>
                    <a:pt x="314" y="403"/>
                    <a:pt x="303" y="414"/>
                  </a:cubicBezTo>
                  <a:cubicBezTo>
                    <a:pt x="292" y="425"/>
                    <a:pt x="269" y="437"/>
                    <a:pt x="258" y="459"/>
                  </a:cubicBezTo>
                  <a:cubicBezTo>
                    <a:pt x="258" y="481"/>
                    <a:pt x="236" y="538"/>
                    <a:pt x="236" y="538"/>
                  </a:cubicBezTo>
                  <a:cubicBezTo>
                    <a:pt x="348" y="538"/>
                    <a:pt x="348" y="538"/>
                    <a:pt x="348" y="538"/>
                  </a:cubicBezTo>
                  <a:cubicBezTo>
                    <a:pt x="303" y="683"/>
                    <a:pt x="303" y="683"/>
                    <a:pt x="303" y="683"/>
                  </a:cubicBezTo>
                  <a:cubicBezTo>
                    <a:pt x="404" y="683"/>
                    <a:pt x="404" y="683"/>
                    <a:pt x="404" y="683"/>
                  </a:cubicBezTo>
                  <a:cubicBezTo>
                    <a:pt x="460" y="762"/>
                    <a:pt x="460" y="762"/>
                    <a:pt x="460" y="762"/>
                  </a:cubicBezTo>
                  <a:cubicBezTo>
                    <a:pt x="426" y="885"/>
                    <a:pt x="426" y="885"/>
                    <a:pt x="426" y="885"/>
                  </a:cubicBezTo>
                  <a:cubicBezTo>
                    <a:pt x="605" y="986"/>
                    <a:pt x="605" y="986"/>
                    <a:pt x="605" y="986"/>
                  </a:cubicBezTo>
                  <a:cubicBezTo>
                    <a:pt x="617" y="1098"/>
                    <a:pt x="617" y="1098"/>
                    <a:pt x="617" y="1098"/>
                  </a:cubicBezTo>
                  <a:cubicBezTo>
                    <a:pt x="617" y="1098"/>
                    <a:pt x="684" y="1143"/>
                    <a:pt x="672" y="1120"/>
                  </a:cubicBezTo>
                  <a:cubicBezTo>
                    <a:pt x="661" y="1098"/>
                    <a:pt x="695" y="1087"/>
                    <a:pt x="706" y="1098"/>
                  </a:cubicBezTo>
                  <a:cubicBezTo>
                    <a:pt x="729" y="1120"/>
                    <a:pt x="740" y="1143"/>
                    <a:pt x="774" y="1154"/>
                  </a:cubicBezTo>
                  <a:cubicBezTo>
                    <a:pt x="807" y="1165"/>
                    <a:pt x="818" y="1132"/>
                    <a:pt x="852" y="1132"/>
                  </a:cubicBezTo>
                  <a:cubicBezTo>
                    <a:pt x="885" y="1132"/>
                    <a:pt x="885" y="1109"/>
                    <a:pt x="930" y="1120"/>
                  </a:cubicBezTo>
                  <a:cubicBezTo>
                    <a:pt x="975" y="1132"/>
                    <a:pt x="998" y="1132"/>
                    <a:pt x="998" y="1132"/>
                  </a:cubicBezTo>
                  <a:cubicBezTo>
                    <a:pt x="1009" y="1401"/>
                    <a:pt x="1009" y="1401"/>
                    <a:pt x="1009" y="1401"/>
                  </a:cubicBezTo>
                  <a:cubicBezTo>
                    <a:pt x="1020" y="1479"/>
                    <a:pt x="1020" y="1479"/>
                    <a:pt x="1020" y="1479"/>
                  </a:cubicBezTo>
                  <a:cubicBezTo>
                    <a:pt x="1020" y="1479"/>
                    <a:pt x="1076" y="1490"/>
                    <a:pt x="1099" y="1490"/>
                  </a:cubicBezTo>
                  <a:cubicBezTo>
                    <a:pt x="1132" y="1490"/>
                    <a:pt x="1110" y="1512"/>
                    <a:pt x="1087" y="1546"/>
                  </a:cubicBezTo>
                  <a:cubicBezTo>
                    <a:pt x="1076" y="1580"/>
                    <a:pt x="1031" y="1569"/>
                    <a:pt x="1031" y="1569"/>
                  </a:cubicBezTo>
                  <a:cubicBezTo>
                    <a:pt x="1031" y="1569"/>
                    <a:pt x="830" y="1748"/>
                    <a:pt x="796" y="1781"/>
                  </a:cubicBezTo>
                  <a:cubicBezTo>
                    <a:pt x="774" y="1804"/>
                    <a:pt x="740" y="1815"/>
                    <a:pt x="729" y="1804"/>
                  </a:cubicBezTo>
                  <a:cubicBezTo>
                    <a:pt x="717" y="1781"/>
                    <a:pt x="706" y="1759"/>
                    <a:pt x="695" y="1793"/>
                  </a:cubicBezTo>
                  <a:cubicBezTo>
                    <a:pt x="695" y="1815"/>
                    <a:pt x="672" y="1804"/>
                    <a:pt x="672" y="1826"/>
                  </a:cubicBezTo>
                  <a:cubicBezTo>
                    <a:pt x="661" y="1849"/>
                    <a:pt x="650" y="1871"/>
                    <a:pt x="617" y="1882"/>
                  </a:cubicBezTo>
                  <a:cubicBezTo>
                    <a:pt x="594" y="1882"/>
                    <a:pt x="594" y="1905"/>
                    <a:pt x="628" y="1916"/>
                  </a:cubicBezTo>
                  <a:cubicBezTo>
                    <a:pt x="661" y="1927"/>
                    <a:pt x="650" y="1950"/>
                    <a:pt x="639" y="1972"/>
                  </a:cubicBezTo>
                  <a:cubicBezTo>
                    <a:pt x="628" y="1994"/>
                    <a:pt x="617" y="1972"/>
                    <a:pt x="605" y="1994"/>
                  </a:cubicBezTo>
                  <a:cubicBezTo>
                    <a:pt x="594" y="2017"/>
                    <a:pt x="572" y="2028"/>
                    <a:pt x="549" y="2017"/>
                  </a:cubicBezTo>
                  <a:cubicBezTo>
                    <a:pt x="527" y="1994"/>
                    <a:pt x="516" y="1983"/>
                    <a:pt x="516" y="2005"/>
                  </a:cubicBezTo>
                  <a:cubicBezTo>
                    <a:pt x="516" y="2039"/>
                    <a:pt x="493" y="2084"/>
                    <a:pt x="471" y="2073"/>
                  </a:cubicBezTo>
                  <a:cubicBezTo>
                    <a:pt x="448" y="2050"/>
                    <a:pt x="426" y="2084"/>
                    <a:pt x="415" y="2107"/>
                  </a:cubicBezTo>
                  <a:cubicBezTo>
                    <a:pt x="404" y="2129"/>
                    <a:pt x="336" y="2129"/>
                    <a:pt x="314" y="2118"/>
                  </a:cubicBezTo>
                  <a:cubicBezTo>
                    <a:pt x="280" y="2118"/>
                    <a:pt x="292" y="2163"/>
                    <a:pt x="292" y="2207"/>
                  </a:cubicBezTo>
                  <a:cubicBezTo>
                    <a:pt x="303" y="2252"/>
                    <a:pt x="336" y="2274"/>
                    <a:pt x="348" y="2297"/>
                  </a:cubicBezTo>
                  <a:cubicBezTo>
                    <a:pt x="359" y="2308"/>
                    <a:pt x="359" y="2409"/>
                    <a:pt x="370" y="2486"/>
                  </a:cubicBezTo>
                  <a:cubicBezTo>
                    <a:pt x="370" y="2498"/>
                    <a:pt x="370" y="2509"/>
                    <a:pt x="370" y="2520"/>
                  </a:cubicBezTo>
                  <a:lnTo>
                    <a:pt x="370" y="2520"/>
                  </a:lnTo>
                  <a:cubicBezTo>
                    <a:pt x="370" y="2531"/>
                    <a:pt x="370" y="2531"/>
                    <a:pt x="370" y="2531"/>
                  </a:cubicBezTo>
                  <a:lnTo>
                    <a:pt x="370" y="2531"/>
                  </a:lnTo>
                  <a:lnTo>
                    <a:pt x="370" y="2531"/>
                  </a:lnTo>
                  <a:cubicBezTo>
                    <a:pt x="370" y="2531"/>
                    <a:pt x="370" y="2531"/>
                    <a:pt x="370" y="2542"/>
                  </a:cubicBezTo>
                  <a:lnTo>
                    <a:pt x="370" y="2542"/>
                  </a:lnTo>
                  <a:lnTo>
                    <a:pt x="370" y="2542"/>
                  </a:lnTo>
                  <a:lnTo>
                    <a:pt x="370" y="2542"/>
                  </a:lnTo>
                  <a:lnTo>
                    <a:pt x="370" y="2542"/>
                  </a:lnTo>
                  <a:lnTo>
                    <a:pt x="370" y="2542"/>
                  </a:lnTo>
                  <a:cubicBezTo>
                    <a:pt x="370" y="2576"/>
                    <a:pt x="415" y="2610"/>
                    <a:pt x="448" y="2632"/>
                  </a:cubicBezTo>
                  <a:cubicBezTo>
                    <a:pt x="482" y="2666"/>
                    <a:pt x="426" y="2688"/>
                    <a:pt x="359" y="2711"/>
                  </a:cubicBezTo>
                  <a:cubicBezTo>
                    <a:pt x="292" y="2722"/>
                    <a:pt x="213" y="2711"/>
                    <a:pt x="179" y="2722"/>
                  </a:cubicBezTo>
                  <a:cubicBezTo>
                    <a:pt x="157" y="2733"/>
                    <a:pt x="146" y="2879"/>
                    <a:pt x="146" y="2924"/>
                  </a:cubicBezTo>
                  <a:cubicBezTo>
                    <a:pt x="157" y="2968"/>
                    <a:pt x="146" y="2991"/>
                    <a:pt x="123" y="2980"/>
                  </a:cubicBezTo>
                  <a:cubicBezTo>
                    <a:pt x="101" y="2968"/>
                    <a:pt x="67" y="2968"/>
                    <a:pt x="56" y="2991"/>
                  </a:cubicBezTo>
                  <a:cubicBezTo>
                    <a:pt x="34" y="3013"/>
                    <a:pt x="34" y="3092"/>
                    <a:pt x="12" y="3114"/>
                  </a:cubicBezTo>
                  <a:lnTo>
                    <a:pt x="0" y="3125"/>
                  </a:lnTo>
                  <a:cubicBezTo>
                    <a:pt x="0" y="3137"/>
                    <a:pt x="0" y="3159"/>
                    <a:pt x="23" y="3159"/>
                  </a:cubicBezTo>
                  <a:cubicBezTo>
                    <a:pt x="45" y="3159"/>
                    <a:pt x="34" y="3181"/>
                    <a:pt x="45" y="3204"/>
                  </a:cubicBezTo>
                  <a:cubicBezTo>
                    <a:pt x="56" y="3226"/>
                    <a:pt x="79" y="3204"/>
                    <a:pt x="90" y="3226"/>
                  </a:cubicBezTo>
                  <a:cubicBezTo>
                    <a:pt x="101" y="3237"/>
                    <a:pt x="56" y="3260"/>
                    <a:pt x="34" y="3282"/>
                  </a:cubicBezTo>
                  <a:cubicBezTo>
                    <a:pt x="12" y="3304"/>
                    <a:pt x="23" y="3372"/>
                    <a:pt x="45" y="3372"/>
                  </a:cubicBezTo>
                  <a:cubicBezTo>
                    <a:pt x="67" y="3383"/>
                    <a:pt x="56" y="3417"/>
                    <a:pt x="67" y="3428"/>
                  </a:cubicBezTo>
                  <a:cubicBezTo>
                    <a:pt x="90" y="3450"/>
                    <a:pt x="135" y="3450"/>
                    <a:pt x="179" y="3439"/>
                  </a:cubicBezTo>
                  <a:cubicBezTo>
                    <a:pt x="224" y="3428"/>
                    <a:pt x="213" y="3473"/>
                    <a:pt x="202" y="3495"/>
                  </a:cubicBezTo>
                  <a:cubicBezTo>
                    <a:pt x="202" y="3529"/>
                    <a:pt x="224" y="3529"/>
                    <a:pt x="269" y="3529"/>
                  </a:cubicBezTo>
                  <a:cubicBezTo>
                    <a:pt x="303" y="3517"/>
                    <a:pt x="303" y="3529"/>
                    <a:pt x="325" y="3506"/>
                  </a:cubicBezTo>
                  <a:cubicBezTo>
                    <a:pt x="359" y="3484"/>
                    <a:pt x="392" y="3529"/>
                    <a:pt x="415" y="3529"/>
                  </a:cubicBezTo>
                  <a:cubicBezTo>
                    <a:pt x="448" y="3540"/>
                    <a:pt x="437" y="3506"/>
                    <a:pt x="437" y="3473"/>
                  </a:cubicBezTo>
                  <a:cubicBezTo>
                    <a:pt x="426" y="3439"/>
                    <a:pt x="448" y="3473"/>
                    <a:pt x="493" y="3506"/>
                  </a:cubicBezTo>
                  <a:cubicBezTo>
                    <a:pt x="527" y="3540"/>
                    <a:pt x="527" y="3551"/>
                    <a:pt x="549" y="3540"/>
                  </a:cubicBezTo>
                  <a:cubicBezTo>
                    <a:pt x="583" y="3540"/>
                    <a:pt x="605" y="3551"/>
                    <a:pt x="594" y="3573"/>
                  </a:cubicBezTo>
                  <a:cubicBezTo>
                    <a:pt x="594" y="3596"/>
                    <a:pt x="594" y="3618"/>
                    <a:pt x="617" y="3630"/>
                  </a:cubicBezTo>
                  <a:cubicBezTo>
                    <a:pt x="639" y="3630"/>
                    <a:pt x="617" y="3641"/>
                    <a:pt x="617" y="3663"/>
                  </a:cubicBezTo>
                  <a:cubicBezTo>
                    <a:pt x="605" y="3686"/>
                    <a:pt x="617" y="3697"/>
                    <a:pt x="628" y="3697"/>
                  </a:cubicBezTo>
                  <a:cubicBezTo>
                    <a:pt x="639" y="3697"/>
                    <a:pt x="684" y="3697"/>
                    <a:pt x="729" y="3675"/>
                  </a:cubicBezTo>
                  <a:cubicBezTo>
                    <a:pt x="774" y="3663"/>
                    <a:pt x="785" y="3675"/>
                    <a:pt x="796" y="3686"/>
                  </a:cubicBezTo>
                  <a:cubicBezTo>
                    <a:pt x="807" y="3708"/>
                    <a:pt x="818" y="3719"/>
                    <a:pt x="863" y="3719"/>
                  </a:cubicBezTo>
                  <a:cubicBezTo>
                    <a:pt x="908" y="3719"/>
                    <a:pt x="953" y="3719"/>
                    <a:pt x="964" y="3686"/>
                  </a:cubicBezTo>
                  <a:cubicBezTo>
                    <a:pt x="975" y="3663"/>
                    <a:pt x="998" y="3675"/>
                    <a:pt x="1031" y="3697"/>
                  </a:cubicBezTo>
                  <a:cubicBezTo>
                    <a:pt x="1043" y="3708"/>
                    <a:pt x="1054" y="3708"/>
                    <a:pt x="1054" y="3708"/>
                  </a:cubicBezTo>
                  <a:lnTo>
                    <a:pt x="1054" y="3708"/>
                  </a:lnTo>
                  <a:lnTo>
                    <a:pt x="1054" y="3708"/>
                  </a:lnTo>
                  <a:lnTo>
                    <a:pt x="1054" y="3708"/>
                  </a:lnTo>
                  <a:lnTo>
                    <a:pt x="1054" y="3708"/>
                  </a:lnTo>
                  <a:lnTo>
                    <a:pt x="1054" y="3708"/>
                  </a:lnTo>
                  <a:cubicBezTo>
                    <a:pt x="1065" y="3708"/>
                    <a:pt x="1065" y="3708"/>
                    <a:pt x="1065" y="3708"/>
                  </a:cubicBez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cubicBezTo>
                    <a:pt x="1076" y="3697"/>
                    <a:pt x="1087" y="3686"/>
                    <a:pt x="1099" y="3675"/>
                  </a:cubicBezTo>
                  <a:cubicBezTo>
                    <a:pt x="1110" y="3641"/>
                    <a:pt x="1132" y="3686"/>
                    <a:pt x="1166" y="3686"/>
                  </a:cubicBezTo>
                  <a:cubicBezTo>
                    <a:pt x="1210" y="3686"/>
                    <a:pt x="1222" y="3641"/>
                    <a:pt x="1255" y="3618"/>
                  </a:cubicBezTo>
                  <a:cubicBezTo>
                    <a:pt x="1300" y="3596"/>
                    <a:pt x="1323" y="3641"/>
                    <a:pt x="1356" y="3708"/>
                  </a:cubicBezTo>
                  <a:cubicBezTo>
                    <a:pt x="1390" y="3764"/>
                    <a:pt x="1479" y="3764"/>
                    <a:pt x="1479" y="3764"/>
                  </a:cubicBezTo>
                  <a:lnTo>
                    <a:pt x="1479" y="3764"/>
                  </a:lnTo>
                  <a:cubicBezTo>
                    <a:pt x="1491" y="3764"/>
                    <a:pt x="1502" y="3764"/>
                    <a:pt x="1513" y="3764"/>
                  </a:cubicBezTo>
                  <a:cubicBezTo>
                    <a:pt x="1558" y="3764"/>
                    <a:pt x="1547" y="3730"/>
                    <a:pt x="1524" y="3708"/>
                  </a:cubicBezTo>
                  <a:cubicBezTo>
                    <a:pt x="1502" y="3686"/>
                    <a:pt x="1491" y="3686"/>
                    <a:pt x="1491" y="3585"/>
                  </a:cubicBezTo>
                  <a:cubicBezTo>
                    <a:pt x="1491" y="3495"/>
                    <a:pt x="1491" y="3461"/>
                    <a:pt x="1502" y="3428"/>
                  </a:cubicBezTo>
                  <a:cubicBezTo>
                    <a:pt x="1513" y="3406"/>
                    <a:pt x="1536" y="3327"/>
                    <a:pt x="1547" y="3271"/>
                  </a:cubicBezTo>
                  <a:cubicBezTo>
                    <a:pt x="1547" y="3204"/>
                    <a:pt x="1558" y="3181"/>
                    <a:pt x="1547" y="3148"/>
                  </a:cubicBezTo>
                  <a:cubicBezTo>
                    <a:pt x="1547" y="3103"/>
                    <a:pt x="1547" y="3047"/>
                    <a:pt x="1536" y="3047"/>
                  </a:cubicBezTo>
                  <a:cubicBezTo>
                    <a:pt x="1524" y="3035"/>
                    <a:pt x="1502" y="3035"/>
                    <a:pt x="1524" y="3013"/>
                  </a:cubicBezTo>
                  <a:cubicBezTo>
                    <a:pt x="1536" y="2991"/>
                    <a:pt x="1547" y="2968"/>
                    <a:pt x="1536" y="2879"/>
                  </a:cubicBezTo>
                  <a:cubicBezTo>
                    <a:pt x="1536" y="2800"/>
                    <a:pt x="1536" y="2767"/>
                    <a:pt x="1513" y="2744"/>
                  </a:cubicBezTo>
                  <a:cubicBezTo>
                    <a:pt x="1479" y="2711"/>
                    <a:pt x="1457" y="2711"/>
                    <a:pt x="1457" y="2688"/>
                  </a:cubicBezTo>
                  <a:cubicBezTo>
                    <a:pt x="1457" y="2666"/>
                    <a:pt x="1457" y="2666"/>
                    <a:pt x="1491" y="2655"/>
                  </a:cubicBezTo>
                  <a:cubicBezTo>
                    <a:pt x="1536" y="2655"/>
                    <a:pt x="1547" y="2666"/>
                    <a:pt x="1547" y="2644"/>
                  </a:cubicBezTo>
                  <a:cubicBezTo>
                    <a:pt x="1547" y="2621"/>
                    <a:pt x="1536" y="2576"/>
                    <a:pt x="1524" y="2565"/>
                  </a:cubicBezTo>
                  <a:cubicBezTo>
                    <a:pt x="1502" y="2565"/>
                    <a:pt x="1491" y="2542"/>
                    <a:pt x="1491" y="2520"/>
                  </a:cubicBezTo>
                  <a:cubicBezTo>
                    <a:pt x="1491" y="2498"/>
                    <a:pt x="1513" y="2509"/>
                    <a:pt x="1513" y="2486"/>
                  </a:cubicBezTo>
                  <a:cubicBezTo>
                    <a:pt x="1513" y="2453"/>
                    <a:pt x="1513" y="2442"/>
                    <a:pt x="1536" y="2431"/>
                  </a:cubicBezTo>
                  <a:cubicBezTo>
                    <a:pt x="1558" y="2431"/>
                    <a:pt x="1547" y="2409"/>
                    <a:pt x="1536" y="2376"/>
                  </a:cubicBezTo>
                  <a:cubicBezTo>
                    <a:pt x="1524" y="2353"/>
                    <a:pt x="1513" y="2319"/>
                    <a:pt x="1513" y="2297"/>
                  </a:cubicBezTo>
                  <a:cubicBezTo>
                    <a:pt x="1502" y="2263"/>
                    <a:pt x="1502" y="2252"/>
                    <a:pt x="1479" y="2263"/>
                  </a:cubicBezTo>
                  <a:cubicBezTo>
                    <a:pt x="1457" y="2274"/>
                    <a:pt x="1435" y="2241"/>
                    <a:pt x="1423" y="2241"/>
                  </a:cubicBezTo>
                  <a:cubicBezTo>
                    <a:pt x="1412" y="2252"/>
                    <a:pt x="1423" y="2207"/>
                    <a:pt x="1435" y="2185"/>
                  </a:cubicBezTo>
                  <a:cubicBezTo>
                    <a:pt x="1446" y="2163"/>
                    <a:pt x="1457" y="2163"/>
                    <a:pt x="1468" y="2185"/>
                  </a:cubicBezTo>
                  <a:cubicBezTo>
                    <a:pt x="1479" y="2207"/>
                    <a:pt x="1524" y="2174"/>
                    <a:pt x="1547" y="2196"/>
                  </a:cubicBezTo>
                  <a:cubicBezTo>
                    <a:pt x="1558" y="2218"/>
                    <a:pt x="1569" y="2185"/>
                    <a:pt x="1558" y="2163"/>
                  </a:cubicBezTo>
                  <a:cubicBezTo>
                    <a:pt x="1558" y="2151"/>
                    <a:pt x="1547" y="2151"/>
                    <a:pt x="1524" y="2140"/>
                  </a:cubicBezTo>
                  <a:cubicBezTo>
                    <a:pt x="1513" y="2118"/>
                    <a:pt x="1513" y="2084"/>
                    <a:pt x="1547" y="2062"/>
                  </a:cubicBezTo>
                  <a:cubicBezTo>
                    <a:pt x="1569" y="2050"/>
                    <a:pt x="1547" y="1983"/>
                    <a:pt x="1547" y="1938"/>
                  </a:cubicBezTo>
                  <a:cubicBezTo>
                    <a:pt x="1547" y="1905"/>
                    <a:pt x="1536" y="1882"/>
                    <a:pt x="1524" y="1894"/>
                  </a:cubicBezTo>
                  <a:cubicBezTo>
                    <a:pt x="1502" y="1905"/>
                    <a:pt x="1491" y="1882"/>
                    <a:pt x="1491" y="1871"/>
                  </a:cubicBezTo>
                  <a:cubicBezTo>
                    <a:pt x="1491" y="1860"/>
                    <a:pt x="1524" y="1849"/>
                    <a:pt x="1547" y="1815"/>
                  </a:cubicBezTo>
                  <a:cubicBezTo>
                    <a:pt x="1569" y="1781"/>
                    <a:pt x="1569" y="1759"/>
                    <a:pt x="1536" y="1770"/>
                  </a:cubicBezTo>
                  <a:cubicBezTo>
                    <a:pt x="1502" y="1770"/>
                    <a:pt x="1468" y="1759"/>
                    <a:pt x="1513" y="1748"/>
                  </a:cubicBezTo>
                  <a:cubicBezTo>
                    <a:pt x="1558" y="1737"/>
                    <a:pt x="1558" y="1725"/>
                    <a:pt x="1547" y="1714"/>
                  </a:cubicBezTo>
                  <a:cubicBezTo>
                    <a:pt x="1536" y="1703"/>
                    <a:pt x="1536" y="1681"/>
                    <a:pt x="1513" y="1669"/>
                  </a:cubicBezTo>
                  <a:cubicBezTo>
                    <a:pt x="1491" y="1669"/>
                    <a:pt x="1491" y="1669"/>
                    <a:pt x="1479" y="1681"/>
                  </a:cubicBezTo>
                  <a:cubicBezTo>
                    <a:pt x="1468" y="1692"/>
                    <a:pt x="1468" y="1658"/>
                    <a:pt x="1502" y="1636"/>
                  </a:cubicBezTo>
                  <a:cubicBezTo>
                    <a:pt x="1547" y="1602"/>
                    <a:pt x="1524" y="1591"/>
                    <a:pt x="1558" y="1591"/>
                  </a:cubicBezTo>
                  <a:cubicBezTo>
                    <a:pt x="1592" y="1591"/>
                    <a:pt x="1580" y="1636"/>
                    <a:pt x="1603" y="1636"/>
                  </a:cubicBezTo>
                  <a:cubicBezTo>
                    <a:pt x="1636" y="1647"/>
                    <a:pt x="1670" y="1625"/>
                    <a:pt x="1670" y="1614"/>
                  </a:cubicBezTo>
                  <a:cubicBezTo>
                    <a:pt x="1670" y="1602"/>
                    <a:pt x="1681" y="1580"/>
                    <a:pt x="1692" y="1591"/>
                  </a:cubicBezTo>
                  <a:cubicBezTo>
                    <a:pt x="1715" y="1602"/>
                    <a:pt x="1692" y="1614"/>
                    <a:pt x="1692" y="1658"/>
                  </a:cubicBezTo>
                  <a:cubicBezTo>
                    <a:pt x="1681" y="1703"/>
                    <a:pt x="1681" y="1737"/>
                    <a:pt x="1670" y="1781"/>
                  </a:cubicBezTo>
                  <a:cubicBezTo>
                    <a:pt x="1648" y="1826"/>
                    <a:pt x="1659" y="1849"/>
                    <a:pt x="1681" y="1815"/>
                  </a:cubicBezTo>
                  <a:cubicBezTo>
                    <a:pt x="1704" y="1770"/>
                    <a:pt x="1748" y="1692"/>
                    <a:pt x="1760" y="1647"/>
                  </a:cubicBezTo>
                  <a:cubicBezTo>
                    <a:pt x="1782" y="1602"/>
                    <a:pt x="1793" y="1546"/>
                    <a:pt x="1793" y="1501"/>
                  </a:cubicBezTo>
                  <a:cubicBezTo>
                    <a:pt x="1782" y="1468"/>
                    <a:pt x="1838" y="1389"/>
                    <a:pt x="1861" y="1356"/>
                  </a:cubicBezTo>
                  <a:cubicBezTo>
                    <a:pt x="1894" y="1311"/>
                    <a:pt x="1905" y="1266"/>
                    <a:pt x="1905" y="121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22"/>
            <p:cNvSpPr>
              <a:spLocks noChangeArrowheads="1"/>
            </p:cNvSpPr>
            <p:nvPr/>
          </p:nvSpPr>
          <p:spPr bwMode="auto">
            <a:xfrm>
              <a:off x="5081744" y="4118820"/>
              <a:ext cx="967632" cy="952718"/>
            </a:xfrm>
            <a:custGeom>
              <a:avLst/>
              <a:gdLst>
                <a:gd name="T0" fmla="*/ 2790 w 2791"/>
                <a:gd name="T1" fmla="*/ 661 h 2747"/>
                <a:gd name="T2" fmla="*/ 2499 w 2791"/>
                <a:gd name="T3" fmla="*/ 628 h 2747"/>
                <a:gd name="T4" fmla="*/ 2129 w 2791"/>
                <a:gd name="T5" fmla="*/ 740 h 2747"/>
                <a:gd name="T6" fmla="*/ 1961 w 2791"/>
                <a:gd name="T7" fmla="*/ 751 h 2747"/>
                <a:gd name="T8" fmla="*/ 2039 w 2791"/>
                <a:gd name="T9" fmla="*/ 975 h 2747"/>
                <a:gd name="T10" fmla="*/ 1883 w 2791"/>
                <a:gd name="T11" fmla="*/ 1065 h 2747"/>
                <a:gd name="T12" fmla="*/ 1759 w 2791"/>
                <a:gd name="T13" fmla="*/ 1177 h 2747"/>
                <a:gd name="T14" fmla="*/ 1535 w 2791"/>
                <a:gd name="T15" fmla="*/ 1166 h 2747"/>
                <a:gd name="T16" fmla="*/ 1378 w 2791"/>
                <a:gd name="T17" fmla="*/ 1087 h 2747"/>
                <a:gd name="T18" fmla="*/ 1423 w 2791"/>
                <a:gd name="T19" fmla="*/ 942 h 2747"/>
                <a:gd name="T20" fmla="*/ 1457 w 2791"/>
                <a:gd name="T21" fmla="*/ 796 h 2747"/>
                <a:gd name="T22" fmla="*/ 1591 w 2791"/>
                <a:gd name="T23" fmla="*/ 572 h 2747"/>
                <a:gd name="T24" fmla="*/ 1725 w 2791"/>
                <a:gd name="T25" fmla="*/ 370 h 2747"/>
                <a:gd name="T26" fmla="*/ 1580 w 2791"/>
                <a:gd name="T27" fmla="*/ 336 h 2747"/>
                <a:gd name="T28" fmla="*/ 1367 w 2791"/>
                <a:gd name="T29" fmla="*/ 426 h 2747"/>
                <a:gd name="T30" fmla="*/ 1412 w 2791"/>
                <a:gd name="T31" fmla="*/ 146 h 2747"/>
                <a:gd name="T32" fmla="*/ 1221 w 2791"/>
                <a:gd name="T33" fmla="*/ 280 h 2747"/>
                <a:gd name="T34" fmla="*/ 1300 w 2791"/>
                <a:gd name="T35" fmla="*/ 23 h 2747"/>
                <a:gd name="T36" fmla="*/ 1165 w 2791"/>
                <a:gd name="T37" fmla="*/ 157 h 2747"/>
                <a:gd name="T38" fmla="*/ 1042 w 2791"/>
                <a:gd name="T39" fmla="*/ 146 h 2747"/>
                <a:gd name="T40" fmla="*/ 952 w 2791"/>
                <a:gd name="T41" fmla="*/ 236 h 2747"/>
                <a:gd name="T42" fmla="*/ 885 w 2791"/>
                <a:gd name="T43" fmla="*/ 482 h 2747"/>
                <a:gd name="T44" fmla="*/ 1031 w 2791"/>
                <a:gd name="T45" fmla="*/ 661 h 2747"/>
                <a:gd name="T46" fmla="*/ 1188 w 2791"/>
                <a:gd name="T47" fmla="*/ 874 h 2747"/>
                <a:gd name="T48" fmla="*/ 1221 w 2791"/>
                <a:gd name="T49" fmla="*/ 1076 h 2747"/>
                <a:gd name="T50" fmla="*/ 997 w 2791"/>
                <a:gd name="T51" fmla="*/ 1110 h 2747"/>
                <a:gd name="T52" fmla="*/ 975 w 2791"/>
                <a:gd name="T53" fmla="*/ 1446 h 2747"/>
                <a:gd name="T54" fmla="*/ 807 w 2791"/>
                <a:gd name="T55" fmla="*/ 1356 h 2747"/>
                <a:gd name="T56" fmla="*/ 538 w 2791"/>
                <a:gd name="T57" fmla="*/ 1233 h 2747"/>
                <a:gd name="T58" fmla="*/ 291 w 2791"/>
                <a:gd name="T59" fmla="*/ 1390 h 2747"/>
                <a:gd name="T60" fmla="*/ 246 w 2791"/>
                <a:gd name="T61" fmla="*/ 1580 h 2747"/>
                <a:gd name="T62" fmla="*/ 33 w 2791"/>
                <a:gd name="T63" fmla="*/ 1827 h 2747"/>
                <a:gd name="T64" fmla="*/ 347 w 2791"/>
                <a:gd name="T65" fmla="*/ 2208 h 2747"/>
                <a:gd name="T66" fmla="*/ 874 w 2791"/>
                <a:gd name="T67" fmla="*/ 2421 h 2747"/>
                <a:gd name="T68" fmla="*/ 1188 w 2791"/>
                <a:gd name="T69" fmla="*/ 2331 h 2747"/>
                <a:gd name="T70" fmla="*/ 1356 w 2791"/>
                <a:gd name="T71" fmla="*/ 2298 h 2747"/>
                <a:gd name="T72" fmla="*/ 1479 w 2791"/>
                <a:gd name="T73" fmla="*/ 2421 h 2747"/>
                <a:gd name="T74" fmla="*/ 1468 w 2791"/>
                <a:gd name="T75" fmla="*/ 2645 h 2747"/>
                <a:gd name="T76" fmla="*/ 1591 w 2791"/>
                <a:gd name="T77" fmla="*/ 2656 h 2747"/>
                <a:gd name="T78" fmla="*/ 1737 w 2791"/>
                <a:gd name="T79" fmla="*/ 2678 h 2747"/>
                <a:gd name="T80" fmla="*/ 1871 w 2791"/>
                <a:gd name="T81" fmla="*/ 2544 h 2747"/>
                <a:gd name="T82" fmla="*/ 2039 w 2791"/>
                <a:gd name="T83" fmla="*/ 2488 h 2747"/>
                <a:gd name="T84" fmla="*/ 2017 w 2791"/>
                <a:gd name="T85" fmla="*/ 2287 h 2747"/>
                <a:gd name="T86" fmla="*/ 1916 w 2791"/>
                <a:gd name="T87" fmla="*/ 2129 h 2747"/>
                <a:gd name="T88" fmla="*/ 1950 w 2791"/>
                <a:gd name="T89" fmla="*/ 2006 h 2747"/>
                <a:gd name="T90" fmla="*/ 1759 w 2791"/>
                <a:gd name="T91" fmla="*/ 1984 h 2747"/>
                <a:gd name="T92" fmla="*/ 1938 w 2791"/>
                <a:gd name="T93" fmla="*/ 1838 h 2747"/>
                <a:gd name="T94" fmla="*/ 2129 w 2791"/>
                <a:gd name="T95" fmla="*/ 1704 h 2747"/>
                <a:gd name="T96" fmla="*/ 2353 w 2791"/>
                <a:gd name="T97" fmla="*/ 1704 h 2747"/>
                <a:gd name="T98" fmla="*/ 2488 w 2791"/>
                <a:gd name="T99" fmla="*/ 1513 h 2747"/>
                <a:gd name="T100" fmla="*/ 2443 w 2791"/>
                <a:gd name="T101" fmla="*/ 1345 h 2747"/>
                <a:gd name="T102" fmla="*/ 2701 w 2791"/>
                <a:gd name="T103" fmla="*/ 1009 h 2747"/>
                <a:gd name="T104" fmla="*/ 2768 w 2791"/>
                <a:gd name="T105" fmla="*/ 695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791" h="2747">
                  <a:moveTo>
                    <a:pt x="2768" y="695"/>
                  </a:moveTo>
                  <a:lnTo>
                    <a:pt x="2768" y="695"/>
                  </a:lnTo>
                  <a:cubicBezTo>
                    <a:pt x="2768" y="695"/>
                    <a:pt x="2779" y="684"/>
                    <a:pt x="2790" y="661"/>
                  </a:cubicBezTo>
                  <a:cubicBezTo>
                    <a:pt x="2757" y="639"/>
                    <a:pt x="2689" y="572"/>
                    <a:pt x="2656" y="538"/>
                  </a:cubicBezTo>
                  <a:cubicBezTo>
                    <a:pt x="2622" y="505"/>
                    <a:pt x="2566" y="516"/>
                    <a:pt x="2544" y="516"/>
                  </a:cubicBezTo>
                  <a:cubicBezTo>
                    <a:pt x="2544" y="549"/>
                    <a:pt x="2532" y="594"/>
                    <a:pt x="2499" y="628"/>
                  </a:cubicBezTo>
                  <a:cubicBezTo>
                    <a:pt x="2443" y="684"/>
                    <a:pt x="2320" y="718"/>
                    <a:pt x="2297" y="774"/>
                  </a:cubicBezTo>
                  <a:cubicBezTo>
                    <a:pt x="2286" y="818"/>
                    <a:pt x="2219" y="829"/>
                    <a:pt x="2196" y="796"/>
                  </a:cubicBezTo>
                  <a:cubicBezTo>
                    <a:pt x="2185" y="762"/>
                    <a:pt x="2140" y="762"/>
                    <a:pt x="2129" y="740"/>
                  </a:cubicBezTo>
                  <a:cubicBezTo>
                    <a:pt x="2118" y="718"/>
                    <a:pt x="2084" y="762"/>
                    <a:pt x="2062" y="718"/>
                  </a:cubicBezTo>
                  <a:cubicBezTo>
                    <a:pt x="2051" y="684"/>
                    <a:pt x="2006" y="684"/>
                    <a:pt x="1994" y="718"/>
                  </a:cubicBezTo>
                  <a:cubicBezTo>
                    <a:pt x="1994" y="729"/>
                    <a:pt x="1983" y="740"/>
                    <a:pt x="1961" y="751"/>
                  </a:cubicBezTo>
                  <a:cubicBezTo>
                    <a:pt x="1972" y="785"/>
                    <a:pt x="1961" y="807"/>
                    <a:pt x="1972" y="818"/>
                  </a:cubicBezTo>
                  <a:cubicBezTo>
                    <a:pt x="1994" y="841"/>
                    <a:pt x="2028" y="874"/>
                    <a:pt x="2028" y="874"/>
                  </a:cubicBezTo>
                  <a:cubicBezTo>
                    <a:pt x="2028" y="874"/>
                    <a:pt x="2039" y="942"/>
                    <a:pt x="2039" y="975"/>
                  </a:cubicBezTo>
                  <a:cubicBezTo>
                    <a:pt x="2039" y="1009"/>
                    <a:pt x="2017" y="1009"/>
                    <a:pt x="1994" y="1009"/>
                  </a:cubicBezTo>
                  <a:cubicBezTo>
                    <a:pt x="1972" y="998"/>
                    <a:pt x="1950" y="1009"/>
                    <a:pt x="1938" y="1031"/>
                  </a:cubicBezTo>
                  <a:cubicBezTo>
                    <a:pt x="1916" y="1054"/>
                    <a:pt x="1883" y="1031"/>
                    <a:pt x="1883" y="1065"/>
                  </a:cubicBezTo>
                  <a:cubicBezTo>
                    <a:pt x="1883" y="1087"/>
                    <a:pt x="1860" y="1098"/>
                    <a:pt x="1838" y="1076"/>
                  </a:cubicBezTo>
                  <a:cubicBezTo>
                    <a:pt x="1815" y="1054"/>
                    <a:pt x="1770" y="1076"/>
                    <a:pt x="1770" y="1076"/>
                  </a:cubicBezTo>
                  <a:cubicBezTo>
                    <a:pt x="1770" y="1076"/>
                    <a:pt x="1759" y="1132"/>
                    <a:pt x="1759" y="1177"/>
                  </a:cubicBezTo>
                  <a:cubicBezTo>
                    <a:pt x="1770" y="1211"/>
                    <a:pt x="1759" y="1199"/>
                    <a:pt x="1714" y="1211"/>
                  </a:cubicBezTo>
                  <a:cubicBezTo>
                    <a:pt x="1681" y="1211"/>
                    <a:pt x="1625" y="1222"/>
                    <a:pt x="1591" y="1244"/>
                  </a:cubicBezTo>
                  <a:cubicBezTo>
                    <a:pt x="1558" y="1256"/>
                    <a:pt x="1546" y="1222"/>
                    <a:pt x="1535" y="1166"/>
                  </a:cubicBezTo>
                  <a:cubicBezTo>
                    <a:pt x="1513" y="1121"/>
                    <a:pt x="1468" y="1121"/>
                    <a:pt x="1445" y="1143"/>
                  </a:cubicBezTo>
                  <a:cubicBezTo>
                    <a:pt x="1423" y="1166"/>
                    <a:pt x="1412" y="1154"/>
                    <a:pt x="1412" y="1121"/>
                  </a:cubicBezTo>
                  <a:cubicBezTo>
                    <a:pt x="1423" y="1087"/>
                    <a:pt x="1367" y="1098"/>
                    <a:pt x="1378" y="1087"/>
                  </a:cubicBezTo>
                  <a:cubicBezTo>
                    <a:pt x="1378" y="1065"/>
                    <a:pt x="1367" y="1031"/>
                    <a:pt x="1345" y="998"/>
                  </a:cubicBezTo>
                  <a:cubicBezTo>
                    <a:pt x="1322" y="975"/>
                    <a:pt x="1322" y="953"/>
                    <a:pt x="1345" y="953"/>
                  </a:cubicBezTo>
                  <a:cubicBezTo>
                    <a:pt x="1367" y="964"/>
                    <a:pt x="1412" y="964"/>
                    <a:pt x="1423" y="942"/>
                  </a:cubicBezTo>
                  <a:cubicBezTo>
                    <a:pt x="1445" y="930"/>
                    <a:pt x="1434" y="908"/>
                    <a:pt x="1389" y="908"/>
                  </a:cubicBezTo>
                  <a:cubicBezTo>
                    <a:pt x="1356" y="919"/>
                    <a:pt x="1356" y="874"/>
                    <a:pt x="1389" y="841"/>
                  </a:cubicBezTo>
                  <a:cubicBezTo>
                    <a:pt x="1423" y="807"/>
                    <a:pt x="1434" y="829"/>
                    <a:pt x="1457" y="796"/>
                  </a:cubicBezTo>
                  <a:cubicBezTo>
                    <a:pt x="1479" y="762"/>
                    <a:pt x="1479" y="718"/>
                    <a:pt x="1457" y="706"/>
                  </a:cubicBezTo>
                  <a:cubicBezTo>
                    <a:pt x="1434" y="684"/>
                    <a:pt x="1457" y="673"/>
                    <a:pt x="1490" y="661"/>
                  </a:cubicBezTo>
                  <a:cubicBezTo>
                    <a:pt x="1524" y="639"/>
                    <a:pt x="1558" y="616"/>
                    <a:pt x="1591" y="572"/>
                  </a:cubicBezTo>
                  <a:cubicBezTo>
                    <a:pt x="1625" y="538"/>
                    <a:pt x="1670" y="549"/>
                    <a:pt x="1714" y="527"/>
                  </a:cubicBezTo>
                  <a:cubicBezTo>
                    <a:pt x="1759" y="516"/>
                    <a:pt x="1748" y="493"/>
                    <a:pt x="1725" y="460"/>
                  </a:cubicBezTo>
                  <a:cubicBezTo>
                    <a:pt x="1692" y="437"/>
                    <a:pt x="1714" y="404"/>
                    <a:pt x="1725" y="370"/>
                  </a:cubicBezTo>
                  <a:cubicBezTo>
                    <a:pt x="1737" y="348"/>
                    <a:pt x="1725" y="303"/>
                    <a:pt x="1703" y="280"/>
                  </a:cubicBezTo>
                  <a:cubicBezTo>
                    <a:pt x="1681" y="247"/>
                    <a:pt x="1658" y="236"/>
                    <a:pt x="1625" y="236"/>
                  </a:cubicBezTo>
                  <a:cubicBezTo>
                    <a:pt x="1602" y="247"/>
                    <a:pt x="1569" y="314"/>
                    <a:pt x="1580" y="336"/>
                  </a:cubicBezTo>
                  <a:cubicBezTo>
                    <a:pt x="1591" y="359"/>
                    <a:pt x="1602" y="381"/>
                    <a:pt x="1558" y="392"/>
                  </a:cubicBezTo>
                  <a:cubicBezTo>
                    <a:pt x="1524" y="392"/>
                    <a:pt x="1535" y="449"/>
                    <a:pt x="1490" y="449"/>
                  </a:cubicBezTo>
                  <a:cubicBezTo>
                    <a:pt x="1445" y="449"/>
                    <a:pt x="1356" y="460"/>
                    <a:pt x="1367" y="426"/>
                  </a:cubicBezTo>
                  <a:cubicBezTo>
                    <a:pt x="1378" y="404"/>
                    <a:pt x="1412" y="314"/>
                    <a:pt x="1434" y="269"/>
                  </a:cubicBezTo>
                  <a:cubicBezTo>
                    <a:pt x="1457" y="225"/>
                    <a:pt x="1468" y="213"/>
                    <a:pt x="1445" y="202"/>
                  </a:cubicBezTo>
                  <a:cubicBezTo>
                    <a:pt x="1423" y="191"/>
                    <a:pt x="1423" y="168"/>
                    <a:pt x="1412" y="146"/>
                  </a:cubicBezTo>
                  <a:cubicBezTo>
                    <a:pt x="1389" y="135"/>
                    <a:pt x="1311" y="123"/>
                    <a:pt x="1300" y="146"/>
                  </a:cubicBezTo>
                  <a:cubicBezTo>
                    <a:pt x="1289" y="180"/>
                    <a:pt x="1266" y="247"/>
                    <a:pt x="1266" y="303"/>
                  </a:cubicBezTo>
                  <a:cubicBezTo>
                    <a:pt x="1255" y="348"/>
                    <a:pt x="1244" y="381"/>
                    <a:pt x="1221" y="280"/>
                  </a:cubicBezTo>
                  <a:cubicBezTo>
                    <a:pt x="1210" y="180"/>
                    <a:pt x="1221" y="123"/>
                    <a:pt x="1244" y="123"/>
                  </a:cubicBezTo>
                  <a:cubicBezTo>
                    <a:pt x="1266" y="123"/>
                    <a:pt x="1289" y="112"/>
                    <a:pt x="1300" y="101"/>
                  </a:cubicBezTo>
                  <a:cubicBezTo>
                    <a:pt x="1322" y="90"/>
                    <a:pt x="1311" y="34"/>
                    <a:pt x="1300" y="23"/>
                  </a:cubicBezTo>
                  <a:cubicBezTo>
                    <a:pt x="1300" y="11"/>
                    <a:pt x="1221" y="0"/>
                    <a:pt x="1165" y="11"/>
                  </a:cubicBezTo>
                  <a:cubicBezTo>
                    <a:pt x="1109" y="11"/>
                    <a:pt x="1143" y="56"/>
                    <a:pt x="1154" y="90"/>
                  </a:cubicBezTo>
                  <a:cubicBezTo>
                    <a:pt x="1176" y="112"/>
                    <a:pt x="1154" y="135"/>
                    <a:pt x="1165" y="157"/>
                  </a:cubicBezTo>
                  <a:cubicBezTo>
                    <a:pt x="1176" y="191"/>
                    <a:pt x="1154" y="213"/>
                    <a:pt x="1143" y="236"/>
                  </a:cubicBezTo>
                  <a:cubicBezTo>
                    <a:pt x="1132" y="258"/>
                    <a:pt x="1098" y="280"/>
                    <a:pt x="1098" y="258"/>
                  </a:cubicBezTo>
                  <a:cubicBezTo>
                    <a:pt x="1087" y="236"/>
                    <a:pt x="1065" y="146"/>
                    <a:pt x="1042" y="146"/>
                  </a:cubicBezTo>
                  <a:cubicBezTo>
                    <a:pt x="1020" y="146"/>
                    <a:pt x="1008" y="191"/>
                    <a:pt x="1008" y="213"/>
                  </a:cubicBezTo>
                  <a:cubicBezTo>
                    <a:pt x="997" y="236"/>
                    <a:pt x="975" y="236"/>
                    <a:pt x="952" y="236"/>
                  </a:cubicBezTo>
                  <a:lnTo>
                    <a:pt x="952" y="236"/>
                  </a:lnTo>
                  <a:cubicBezTo>
                    <a:pt x="952" y="247"/>
                    <a:pt x="952" y="258"/>
                    <a:pt x="952" y="258"/>
                  </a:cubicBezTo>
                  <a:cubicBezTo>
                    <a:pt x="952" y="258"/>
                    <a:pt x="930" y="336"/>
                    <a:pt x="919" y="370"/>
                  </a:cubicBezTo>
                  <a:cubicBezTo>
                    <a:pt x="907" y="415"/>
                    <a:pt x="885" y="437"/>
                    <a:pt x="885" y="482"/>
                  </a:cubicBezTo>
                  <a:cubicBezTo>
                    <a:pt x="885" y="538"/>
                    <a:pt x="907" y="527"/>
                    <a:pt x="963" y="516"/>
                  </a:cubicBezTo>
                  <a:cubicBezTo>
                    <a:pt x="1020" y="516"/>
                    <a:pt x="1053" y="538"/>
                    <a:pt x="1042" y="561"/>
                  </a:cubicBezTo>
                  <a:cubicBezTo>
                    <a:pt x="1020" y="594"/>
                    <a:pt x="1008" y="650"/>
                    <a:pt x="1031" y="661"/>
                  </a:cubicBezTo>
                  <a:cubicBezTo>
                    <a:pt x="1065" y="673"/>
                    <a:pt x="1087" y="650"/>
                    <a:pt x="1120" y="673"/>
                  </a:cubicBezTo>
                  <a:cubicBezTo>
                    <a:pt x="1154" y="706"/>
                    <a:pt x="1188" y="729"/>
                    <a:pt x="1188" y="774"/>
                  </a:cubicBezTo>
                  <a:cubicBezTo>
                    <a:pt x="1176" y="818"/>
                    <a:pt x="1176" y="863"/>
                    <a:pt x="1188" y="874"/>
                  </a:cubicBezTo>
                  <a:cubicBezTo>
                    <a:pt x="1210" y="874"/>
                    <a:pt x="1266" y="885"/>
                    <a:pt x="1266" y="908"/>
                  </a:cubicBezTo>
                  <a:cubicBezTo>
                    <a:pt x="1266" y="919"/>
                    <a:pt x="1244" y="953"/>
                    <a:pt x="1244" y="998"/>
                  </a:cubicBezTo>
                  <a:cubicBezTo>
                    <a:pt x="1244" y="1042"/>
                    <a:pt x="1232" y="1087"/>
                    <a:pt x="1221" y="1076"/>
                  </a:cubicBezTo>
                  <a:cubicBezTo>
                    <a:pt x="1199" y="1065"/>
                    <a:pt x="1165" y="1042"/>
                    <a:pt x="1143" y="1076"/>
                  </a:cubicBezTo>
                  <a:cubicBezTo>
                    <a:pt x="1132" y="1110"/>
                    <a:pt x="1120" y="1121"/>
                    <a:pt x="1076" y="1110"/>
                  </a:cubicBezTo>
                  <a:cubicBezTo>
                    <a:pt x="1031" y="1098"/>
                    <a:pt x="997" y="1087"/>
                    <a:pt x="997" y="1110"/>
                  </a:cubicBezTo>
                  <a:cubicBezTo>
                    <a:pt x="986" y="1132"/>
                    <a:pt x="997" y="1256"/>
                    <a:pt x="986" y="1278"/>
                  </a:cubicBezTo>
                  <a:cubicBezTo>
                    <a:pt x="963" y="1300"/>
                    <a:pt x="930" y="1345"/>
                    <a:pt x="930" y="1345"/>
                  </a:cubicBezTo>
                  <a:cubicBezTo>
                    <a:pt x="930" y="1345"/>
                    <a:pt x="975" y="1412"/>
                    <a:pt x="975" y="1446"/>
                  </a:cubicBezTo>
                  <a:cubicBezTo>
                    <a:pt x="975" y="1491"/>
                    <a:pt x="963" y="1480"/>
                    <a:pt x="941" y="1468"/>
                  </a:cubicBezTo>
                  <a:cubicBezTo>
                    <a:pt x="907" y="1457"/>
                    <a:pt x="907" y="1457"/>
                    <a:pt x="885" y="1412"/>
                  </a:cubicBezTo>
                  <a:cubicBezTo>
                    <a:pt x="863" y="1379"/>
                    <a:pt x="840" y="1367"/>
                    <a:pt x="807" y="1356"/>
                  </a:cubicBezTo>
                  <a:cubicBezTo>
                    <a:pt x="762" y="1334"/>
                    <a:pt x="762" y="1289"/>
                    <a:pt x="728" y="1278"/>
                  </a:cubicBezTo>
                  <a:cubicBezTo>
                    <a:pt x="694" y="1278"/>
                    <a:pt x="683" y="1278"/>
                    <a:pt x="672" y="1256"/>
                  </a:cubicBezTo>
                  <a:cubicBezTo>
                    <a:pt x="650" y="1222"/>
                    <a:pt x="560" y="1222"/>
                    <a:pt x="538" y="1233"/>
                  </a:cubicBezTo>
                  <a:cubicBezTo>
                    <a:pt x="527" y="1256"/>
                    <a:pt x="504" y="1289"/>
                    <a:pt x="482" y="1278"/>
                  </a:cubicBezTo>
                  <a:cubicBezTo>
                    <a:pt x="459" y="1278"/>
                    <a:pt x="381" y="1311"/>
                    <a:pt x="370" y="1334"/>
                  </a:cubicBezTo>
                  <a:cubicBezTo>
                    <a:pt x="358" y="1356"/>
                    <a:pt x="302" y="1356"/>
                    <a:pt x="291" y="1390"/>
                  </a:cubicBezTo>
                  <a:cubicBezTo>
                    <a:pt x="291" y="1412"/>
                    <a:pt x="280" y="1423"/>
                    <a:pt x="280" y="1446"/>
                  </a:cubicBezTo>
                  <a:cubicBezTo>
                    <a:pt x="280" y="1446"/>
                    <a:pt x="280" y="1457"/>
                    <a:pt x="280" y="1480"/>
                  </a:cubicBezTo>
                  <a:cubicBezTo>
                    <a:pt x="291" y="1547"/>
                    <a:pt x="280" y="1569"/>
                    <a:pt x="246" y="1580"/>
                  </a:cubicBezTo>
                  <a:cubicBezTo>
                    <a:pt x="224" y="1592"/>
                    <a:pt x="112" y="1592"/>
                    <a:pt x="89" y="1592"/>
                  </a:cubicBezTo>
                  <a:cubicBezTo>
                    <a:pt x="56" y="1603"/>
                    <a:pt x="11" y="1625"/>
                    <a:pt x="11" y="1659"/>
                  </a:cubicBezTo>
                  <a:cubicBezTo>
                    <a:pt x="0" y="1692"/>
                    <a:pt x="22" y="1782"/>
                    <a:pt x="33" y="1827"/>
                  </a:cubicBezTo>
                  <a:cubicBezTo>
                    <a:pt x="56" y="1860"/>
                    <a:pt x="101" y="1950"/>
                    <a:pt x="112" y="1995"/>
                  </a:cubicBezTo>
                  <a:cubicBezTo>
                    <a:pt x="134" y="2040"/>
                    <a:pt x="123" y="2051"/>
                    <a:pt x="157" y="2062"/>
                  </a:cubicBezTo>
                  <a:cubicBezTo>
                    <a:pt x="179" y="2073"/>
                    <a:pt x="314" y="2152"/>
                    <a:pt x="347" y="2208"/>
                  </a:cubicBezTo>
                  <a:cubicBezTo>
                    <a:pt x="392" y="2275"/>
                    <a:pt x="403" y="2354"/>
                    <a:pt x="459" y="2387"/>
                  </a:cubicBezTo>
                  <a:cubicBezTo>
                    <a:pt x="504" y="2410"/>
                    <a:pt x="638" y="2477"/>
                    <a:pt x="717" y="2522"/>
                  </a:cubicBezTo>
                  <a:cubicBezTo>
                    <a:pt x="751" y="2488"/>
                    <a:pt x="829" y="2421"/>
                    <a:pt x="874" y="2421"/>
                  </a:cubicBezTo>
                  <a:cubicBezTo>
                    <a:pt x="919" y="2432"/>
                    <a:pt x="1042" y="2410"/>
                    <a:pt x="1053" y="2376"/>
                  </a:cubicBezTo>
                  <a:cubicBezTo>
                    <a:pt x="1065" y="2354"/>
                    <a:pt x="1076" y="2287"/>
                    <a:pt x="1109" y="2309"/>
                  </a:cubicBezTo>
                  <a:cubicBezTo>
                    <a:pt x="1154" y="2320"/>
                    <a:pt x="1165" y="2309"/>
                    <a:pt x="1188" y="2331"/>
                  </a:cubicBezTo>
                  <a:cubicBezTo>
                    <a:pt x="1199" y="2354"/>
                    <a:pt x="1232" y="2320"/>
                    <a:pt x="1244" y="2354"/>
                  </a:cubicBezTo>
                  <a:cubicBezTo>
                    <a:pt x="1255" y="2376"/>
                    <a:pt x="1277" y="2376"/>
                    <a:pt x="1289" y="2342"/>
                  </a:cubicBezTo>
                  <a:cubicBezTo>
                    <a:pt x="1300" y="2309"/>
                    <a:pt x="1322" y="2320"/>
                    <a:pt x="1356" y="2298"/>
                  </a:cubicBezTo>
                  <a:cubicBezTo>
                    <a:pt x="1378" y="2287"/>
                    <a:pt x="1401" y="2287"/>
                    <a:pt x="1412" y="2309"/>
                  </a:cubicBezTo>
                  <a:cubicBezTo>
                    <a:pt x="1412" y="2342"/>
                    <a:pt x="1434" y="2387"/>
                    <a:pt x="1457" y="2387"/>
                  </a:cubicBezTo>
                  <a:cubicBezTo>
                    <a:pt x="1479" y="2387"/>
                    <a:pt x="1501" y="2410"/>
                    <a:pt x="1479" y="2421"/>
                  </a:cubicBezTo>
                  <a:cubicBezTo>
                    <a:pt x="1457" y="2443"/>
                    <a:pt x="1468" y="2499"/>
                    <a:pt x="1479" y="2511"/>
                  </a:cubicBezTo>
                  <a:cubicBezTo>
                    <a:pt x="1490" y="2522"/>
                    <a:pt x="1468" y="2533"/>
                    <a:pt x="1445" y="2544"/>
                  </a:cubicBezTo>
                  <a:cubicBezTo>
                    <a:pt x="1423" y="2544"/>
                    <a:pt x="1457" y="2623"/>
                    <a:pt x="1468" y="2645"/>
                  </a:cubicBezTo>
                  <a:cubicBezTo>
                    <a:pt x="1479" y="2656"/>
                    <a:pt x="1490" y="2678"/>
                    <a:pt x="1501" y="2690"/>
                  </a:cubicBezTo>
                  <a:lnTo>
                    <a:pt x="1513" y="2690"/>
                  </a:lnTo>
                  <a:cubicBezTo>
                    <a:pt x="1535" y="2690"/>
                    <a:pt x="1580" y="2678"/>
                    <a:pt x="1591" y="2656"/>
                  </a:cubicBezTo>
                  <a:cubicBezTo>
                    <a:pt x="1602" y="2634"/>
                    <a:pt x="1636" y="2656"/>
                    <a:pt x="1658" y="2656"/>
                  </a:cubicBezTo>
                  <a:cubicBezTo>
                    <a:pt x="1681" y="2645"/>
                    <a:pt x="1692" y="2701"/>
                    <a:pt x="1692" y="2723"/>
                  </a:cubicBezTo>
                  <a:cubicBezTo>
                    <a:pt x="1692" y="2746"/>
                    <a:pt x="1737" y="2701"/>
                    <a:pt x="1737" y="2678"/>
                  </a:cubicBezTo>
                  <a:cubicBezTo>
                    <a:pt x="1737" y="2645"/>
                    <a:pt x="1748" y="2634"/>
                    <a:pt x="1770" y="2634"/>
                  </a:cubicBezTo>
                  <a:cubicBezTo>
                    <a:pt x="1804" y="2623"/>
                    <a:pt x="1815" y="2589"/>
                    <a:pt x="1815" y="2567"/>
                  </a:cubicBezTo>
                  <a:cubicBezTo>
                    <a:pt x="1815" y="2544"/>
                    <a:pt x="1849" y="2533"/>
                    <a:pt x="1871" y="2544"/>
                  </a:cubicBezTo>
                  <a:cubicBezTo>
                    <a:pt x="1905" y="2544"/>
                    <a:pt x="1916" y="2533"/>
                    <a:pt x="1927" y="2511"/>
                  </a:cubicBezTo>
                  <a:cubicBezTo>
                    <a:pt x="1950" y="2488"/>
                    <a:pt x="1961" y="2499"/>
                    <a:pt x="1983" y="2522"/>
                  </a:cubicBezTo>
                  <a:cubicBezTo>
                    <a:pt x="1994" y="2544"/>
                    <a:pt x="2028" y="2522"/>
                    <a:pt x="2039" y="2488"/>
                  </a:cubicBezTo>
                  <a:cubicBezTo>
                    <a:pt x="2051" y="2454"/>
                    <a:pt x="2084" y="2410"/>
                    <a:pt x="2096" y="2365"/>
                  </a:cubicBezTo>
                  <a:cubicBezTo>
                    <a:pt x="2107" y="2320"/>
                    <a:pt x="2107" y="2287"/>
                    <a:pt x="2084" y="2275"/>
                  </a:cubicBezTo>
                  <a:cubicBezTo>
                    <a:pt x="2062" y="2264"/>
                    <a:pt x="2028" y="2264"/>
                    <a:pt x="2017" y="2287"/>
                  </a:cubicBezTo>
                  <a:cubicBezTo>
                    <a:pt x="1994" y="2309"/>
                    <a:pt x="1983" y="2309"/>
                    <a:pt x="1972" y="2275"/>
                  </a:cubicBezTo>
                  <a:cubicBezTo>
                    <a:pt x="1961" y="2242"/>
                    <a:pt x="1950" y="2208"/>
                    <a:pt x="1927" y="2208"/>
                  </a:cubicBezTo>
                  <a:cubicBezTo>
                    <a:pt x="1905" y="2208"/>
                    <a:pt x="1916" y="2174"/>
                    <a:pt x="1916" y="2129"/>
                  </a:cubicBezTo>
                  <a:cubicBezTo>
                    <a:pt x="1927" y="2085"/>
                    <a:pt x="1927" y="2073"/>
                    <a:pt x="1950" y="2073"/>
                  </a:cubicBezTo>
                  <a:cubicBezTo>
                    <a:pt x="1972" y="2073"/>
                    <a:pt x="1994" y="2073"/>
                    <a:pt x="1994" y="2051"/>
                  </a:cubicBezTo>
                  <a:cubicBezTo>
                    <a:pt x="1994" y="2029"/>
                    <a:pt x="1983" y="1995"/>
                    <a:pt x="1950" y="2006"/>
                  </a:cubicBezTo>
                  <a:cubicBezTo>
                    <a:pt x="1927" y="2006"/>
                    <a:pt x="1905" y="2006"/>
                    <a:pt x="1883" y="1984"/>
                  </a:cubicBezTo>
                  <a:cubicBezTo>
                    <a:pt x="1860" y="1961"/>
                    <a:pt x="1838" y="1961"/>
                    <a:pt x="1815" y="1984"/>
                  </a:cubicBezTo>
                  <a:cubicBezTo>
                    <a:pt x="1782" y="2006"/>
                    <a:pt x="1782" y="2006"/>
                    <a:pt x="1759" y="1984"/>
                  </a:cubicBezTo>
                  <a:cubicBezTo>
                    <a:pt x="1725" y="1961"/>
                    <a:pt x="1770" y="1928"/>
                    <a:pt x="1782" y="1883"/>
                  </a:cubicBezTo>
                  <a:cubicBezTo>
                    <a:pt x="1793" y="1827"/>
                    <a:pt x="1815" y="1816"/>
                    <a:pt x="1838" y="1805"/>
                  </a:cubicBezTo>
                  <a:cubicBezTo>
                    <a:pt x="1871" y="1793"/>
                    <a:pt x="1905" y="1805"/>
                    <a:pt x="1938" y="1838"/>
                  </a:cubicBezTo>
                  <a:cubicBezTo>
                    <a:pt x="1972" y="1860"/>
                    <a:pt x="2006" y="1827"/>
                    <a:pt x="2028" y="1793"/>
                  </a:cubicBezTo>
                  <a:cubicBezTo>
                    <a:pt x="2051" y="1760"/>
                    <a:pt x="2084" y="1793"/>
                    <a:pt x="2084" y="1771"/>
                  </a:cubicBezTo>
                  <a:cubicBezTo>
                    <a:pt x="2096" y="1737"/>
                    <a:pt x="2118" y="1704"/>
                    <a:pt x="2129" y="1704"/>
                  </a:cubicBezTo>
                  <a:cubicBezTo>
                    <a:pt x="2140" y="1704"/>
                    <a:pt x="2163" y="1726"/>
                    <a:pt x="2196" y="1715"/>
                  </a:cubicBezTo>
                  <a:cubicBezTo>
                    <a:pt x="2219" y="1715"/>
                    <a:pt x="2252" y="1704"/>
                    <a:pt x="2286" y="1704"/>
                  </a:cubicBezTo>
                  <a:cubicBezTo>
                    <a:pt x="2320" y="1704"/>
                    <a:pt x="2320" y="1737"/>
                    <a:pt x="2353" y="1704"/>
                  </a:cubicBezTo>
                  <a:cubicBezTo>
                    <a:pt x="2376" y="1670"/>
                    <a:pt x="2409" y="1692"/>
                    <a:pt x="2409" y="1681"/>
                  </a:cubicBezTo>
                  <a:cubicBezTo>
                    <a:pt x="2409" y="1670"/>
                    <a:pt x="2420" y="1614"/>
                    <a:pt x="2443" y="1580"/>
                  </a:cubicBezTo>
                  <a:cubicBezTo>
                    <a:pt x="2465" y="1547"/>
                    <a:pt x="2488" y="1524"/>
                    <a:pt x="2488" y="1513"/>
                  </a:cubicBezTo>
                  <a:cubicBezTo>
                    <a:pt x="2488" y="1491"/>
                    <a:pt x="2465" y="1446"/>
                    <a:pt x="2443" y="1446"/>
                  </a:cubicBezTo>
                  <a:cubicBezTo>
                    <a:pt x="2432" y="1446"/>
                    <a:pt x="2409" y="1423"/>
                    <a:pt x="2420" y="1401"/>
                  </a:cubicBezTo>
                  <a:cubicBezTo>
                    <a:pt x="2443" y="1390"/>
                    <a:pt x="2420" y="1401"/>
                    <a:pt x="2443" y="1345"/>
                  </a:cubicBezTo>
                  <a:cubicBezTo>
                    <a:pt x="2465" y="1300"/>
                    <a:pt x="2499" y="1256"/>
                    <a:pt x="2532" y="1233"/>
                  </a:cubicBezTo>
                  <a:cubicBezTo>
                    <a:pt x="2577" y="1211"/>
                    <a:pt x="2600" y="1154"/>
                    <a:pt x="2622" y="1098"/>
                  </a:cubicBezTo>
                  <a:cubicBezTo>
                    <a:pt x="2656" y="1054"/>
                    <a:pt x="2689" y="1042"/>
                    <a:pt x="2701" y="1009"/>
                  </a:cubicBezTo>
                  <a:cubicBezTo>
                    <a:pt x="2723" y="986"/>
                    <a:pt x="2745" y="942"/>
                    <a:pt x="2723" y="919"/>
                  </a:cubicBezTo>
                  <a:cubicBezTo>
                    <a:pt x="2701" y="897"/>
                    <a:pt x="2712" y="829"/>
                    <a:pt x="2723" y="796"/>
                  </a:cubicBezTo>
                  <a:cubicBezTo>
                    <a:pt x="2745" y="751"/>
                    <a:pt x="2768" y="706"/>
                    <a:pt x="2768" y="69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23"/>
            <p:cNvSpPr>
              <a:spLocks noChangeArrowheads="1"/>
            </p:cNvSpPr>
            <p:nvPr/>
          </p:nvSpPr>
          <p:spPr bwMode="auto">
            <a:xfrm>
              <a:off x="5858296" y="3684515"/>
              <a:ext cx="904958" cy="819674"/>
            </a:xfrm>
            <a:custGeom>
              <a:avLst/>
              <a:gdLst>
                <a:gd name="T0" fmla="*/ 2476 w 2611"/>
                <a:gd name="T1" fmla="*/ 1512 h 2365"/>
                <a:gd name="T2" fmla="*/ 2476 w 2611"/>
                <a:gd name="T3" fmla="*/ 1512 h 2365"/>
                <a:gd name="T4" fmla="*/ 2465 w 2611"/>
                <a:gd name="T5" fmla="*/ 1512 h 2365"/>
                <a:gd name="T6" fmla="*/ 2465 w 2611"/>
                <a:gd name="T7" fmla="*/ 1512 h 2365"/>
                <a:gd name="T8" fmla="*/ 2465 w 2611"/>
                <a:gd name="T9" fmla="*/ 1512 h 2365"/>
                <a:gd name="T10" fmla="*/ 2454 w 2611"/>
                <a:gd name="T11" fmla="*/ 1512 h 2365"/>
                <a:gd name="T12" fmla="*/ 2442 w 2611"/>
                <a:gd name="T13" fmla="*/ 1501 h 2365"/>
                <a:gd name="T14" fmla="*/ 2274 w 2611"/>
                <a:gd name="T15" fmla="*/ 1523 h 2365"/>
                <a:gd name="T16" fmla="*/ 2140 w 2611"/>
                <a:gd name="T17" fmla="*/ 1479 h 2365"/>
                <a:gd name="T18" fmla="*/ 2028 w 2611"/>
                <a:gd name="T19" fmla="*/ 1467 h 2365"/>
                <a:gd name="T20" fmla="*/ 2005 w 2611"/>
                <a:gd name="T21" fmla="*/ 1377 h 2365"/>
                <a:gd name="T22" fmla="*/ 1904 w 2611"/>
                <a:gd name="T23" fmla="*/ 1310 h 2365"/>
                <a:gd name="T24" fmla="*/ 1826 w 2611"/>
                <a:gd name="T25" fmla="*/ 1333 h 2365"/>
                <a:gd name="T26" fmla="*/ 1680 w 2611"/>
                <a:gd name="T27" fmla="*/ 1333 h 2365"/>
                <a:gd name="T28" fmla="*/ 1590 w 2611"/>
                <a:gd name="T29" fmla="*/ 1243 h 2365"/>
                <a:gd name="T30" fmla="*/ 1456 w 2611"/>
                <a:gd name="T31" fmla="*/ 1176 h 2365"/>
                <a:gd name="T32" fmla="*/ 1501 w 2611"/>
                <a:gd name="T33" fmla="*/ 1030 h 2365"/>
                <a:gd name="T34" fmla="*/ 1434 w 2611"/>
                <a:gd name="T35" fmla="*/ 963 h 2365"/>
                <a:gd name="T36" fmla="*/ 1366 w 2611"/>
                <a:gd name="T37" fmla="*/ 896 h 2365"/>
                <a:gd name="T38" fmla="*/ 1288 w 2611"/>
                <a:gd name="T39" fmla="*/ 985 h 2365"/>
                <a:gd name="T40" fmla="*/ 1187 w 2611"/>
                <a:gd name="T41" fmla="*/ 941 h 2365"/>
                <a:gd name="T42" fmla="*/ 1176 w 2611"/>
                <a:gd name="T43" fmla="*/ 817 h 2365"/>
                <a:gd name="T44" fmla="*/ 1221 w 2611"/>
                <a:gd name="T45" fmla="*/ 627 h 2365"/>
                <a:gd name="T46" fmla="*/ 1210 w 2611"/>
                <a:gd name="T47" fmla="*/ 548 h 2365"/>
                <a:gd name="T48" fmla="*/ 1165 w 2611"/>
                <a:gd name="T49" fmla="*/ 290 h 2365"/>
                <a:gd name="T50" fmla="*/ 1131 w 2611"/>
                <a:gd name="T51" fmla="*/ 146 h 2365"/>
                <a:gd name="T52" fmla="*/ 996 w 2611"/>
                <a:gd name="T53" fmla="*/ 0 h 2365"/>
                <a:gd name="T54" fmla="*/ 828 w 2611"/>
                <a:gd name="T55" fmla="*/ 302 h 2365"/>
                <a:gd name="T56" fmla="*/ 740 w 2611"/>
                <a:gd name="T57" fmla="*/ 403 h 2365"/>
                <a:gd name="T58" fmla="*/ 392 w 2611"/>
                <a:gd name="T59" fmla="*/ 739 h 2365"/>
                <a:gd name="T60" fmla="*/ 314 w 2611"/>
                <a:gd name="T61" fmla="*/ 716 h 2365"/>
                <a:gd name="T62" fmla="*/ 224 w 2611"/>
                <a:gd name="T63" fmla="*/ 828 h 2365"/>
                <a:gd name="T64" fmla="*/ 34 w 2611"/>
                <a:gd name="T65" fmla="*/ 806 h 2365"/>
                <a:gd name="T66" fmla="*/ 56 w 2611"/>
                <a:gd name="T67" fmla="*/ 1187 h 2365"/>
                <a:gd name="T68" fmla="*/ 213 w 2611"/>
                <a:gd name="T69" fmla="*/ 1344 h 2365"/>
                <a:gd name="T70" fmla="*/ 482 w 2611"/>
                <a:gd name="T71" fmla="*/ 1422 h 2365"/>
                <a:gd name="T72" fmla="*/ 617 w 2611"/>
                <a:gd name="T73" fmla="*/ 1299 h 2365"/>
                <a:gd name="T74" fmla="*/ 684 w 2611"/>
                <a:gd name="T75" fmla="*/ 1467 h 2365"/>
                <a:gd name="T76" fmla="*/ 650 w 2611"/>
                <a:gd name="T77" fmla="*/ 1736 h 2365"/>
                <a:gd name="T78" fmla="*/ 538 w 2611"/>
                <a:gd name="T79" fmla="*/ 1927 h 2365"/>
                <a:gd name="T80" fmla="*/ 851 w 2611"/>
                <a:gd name="T81" fmla="*/ 1938 h 2365"/>
                <a:gd name="T82" fmla="*/ 1176 w 2611"/>
                <a:gd name="T83" fmla="*/ 2106 h 2365"/>
                <a:gd name="T84" fmla="*/ 1434 w 2611"/>
                <a:gd name="T85" fmla="*/ 2072 h 2365"/>
                <a:gd name="T86" fmla="*/ 1680 w 2611"/>
                <a:gd name="T87" fmla="*/ 2117 h 2365"/>
                <a:gd name="T88" fmla="*/ 1859 w 2611"/>
                <a:gd name="T89" fmla="*/ 2173 h 2365"/>
                <a:gd name="T90" fmla="*/ 1983 w 2611"/>
                <a:gd name="T91" fmla="*/ 2072 h 2365"/>
                <a:gd name="T92" fmla="*/ 2095 w 2611"/>
                <a:gd name="T93" fmla="*/ 2016 h 2365"/>
                <a:gd name="T94" fmla="*/ 2117 w 2611"/>
                <a:gd name="T95" fmla="*/ 2229 h 2365"/>
                <a:gd name="T96" fmla="*/ 2241 w 2611"/>
                <a:gd name="T97" fmla="*/ 2285 h 2365"/>
                <a:gd name="T98" fmla="*/ 2409 w 2611"/>
                <a:gd name="T99" fmla="*/ 2341 h 2365"/>
                <a:gd name="T100" fmla="*/ 2409 w 2611"/>
                <a:gd name="T101" fmla="*/ 2229 h 2365"/>
                <a:gd name="T102" fmla="*/ 2498 w 2611"/>
                <a:gd name="T103" fmla="*/ 2106 h 2365"/>
                <a:gd name="T104" fmla="*/ 2543 w 2611"/>
                <a:gd name="T105" fmla="*/ 1938 h 2365"/>
                <a:gd name="T106" fmla="*/ 2543 w 2611"/>
                <a:gd name="T107" fmla="*/ 1736 h 2365"/>
                <a:gd name="T108" fmla="*/ 2532 w 2611"/>
                <a:gd name="T109" fmla="*/ 1557 h 2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11" h="2365">
                  <a:moveTo>
                    <a:pt x="2476" y="1512"/>
                  </a:moveTo>
                  <a:lnTo>
                    <a:pt x="2476" y="1512"/>
                  </a:lnTo>
                  <a:lnTo>
                    <a:pt x="2476" y="1512"/>
                  </a:lnTo>
                  <a:lnTo>
                    <a:pt x="2476" y="1512"/>
                  </a:lnTo>
                  <a:lnTo>
                    <a:pt x="2476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54" y="1512"/>
                  </a:lnTo>
                  <a:lnTo>
                    <a:pt x="2454" y="1512"/>
                  </a:lnTo>
                  <a:lnTo>
                    <a:pt x="2454" y="1512"/>
                  </a:lnTo>
                  <a:cubicBezTo>
                    <a:pt x="2454" y="1512"/>
                    <a:pt x="2454" y="1512"/>
                    <a:pt x="2442" y="1501"/>
                  </a:cubicBezTo>
                  <a:cubicBezTo>
                    <a:pt x="2409" y="1479"/>
                    <a:pt x="2386" y="1467"/>
                    <a:pt x="2375" y="1490"/>
                  </a:cubicBezTo>
                  <a:cubicBezTo>
                    <a:pt x="2364" y="1523"/>
                    <a:pt x="2319" y="1523"/>
                    <a:pt x="2274" y="1523"/>
                  </a:cubicBezTo>
                  <a:cubicBezTo>
                    <a:pt x="2229" y="1523"/>
                    <a:pt x="2218" y="1512"/>
                    <a:pt x="2207" y="1490"/>
                  </a:cubicBezTo>
                  <a:cubicBezTo>
                    <a:pt x="2196" y="1479"/>
                    <a:pt x="2185" y="1467"/>
                    <a:pt x="2140" y="1479"/>
                  </a:cubicBezTo>
                  <a:cubicBezTo>
                    <a:pt x="2095" y="1501"/>
                    <a:pt x="2050" y="1501"/>
                    <a:pt x="2039" y="1501"/>
                  </a:cubicBezTo>
                  <a:cubicBezTo>
                    <a:pt x="2028" y="1501"/>
                    <a:pt x="2016" y="1490"/>
                    <a:pt x="2028" y="1467"/>
                  </a:cubicBezTo>
                  <a:cubicBezTo>
                    <a:pt x="2028" y="1445"/>
                    <a:pt x="2050" y="1434"/>
                    <a:pt x="2028" y="1434"/>
                  </a:cubicBezTo>
                  <a:cubicBezTo>
                    <a:pt x="2005" y="1422"/>
                    <a:pt x="2005" y="1400"/>
                    <a:pt x="2005" y="1377"/>
                  </a:cubicBezTo>
                  <a:cubicBezTo>
                    <a:pt x="2016" y="1355"/>
                    <a:pt x="1994" y="1344"/>
                    <a:pt x="1960" y="1344"/>
                  </a:cubicBezTo>
                  <a:cubicBezTo>
                    <a:pt x="1938" y="1355"/>
                    <a:pt x="1938" y="1344"/>
                    <a:pt x="1904" y="1310"/>
                  </a:cubicBezTo>
                  <a:cubicBezTo>
                    <a:pt x="1859" y="1277"/>
                    <a:pt x="1837" y="1243"/>
                    <a:pt x="1848" y="1277"/>
                  </a:cubicBezTo>
                  <a:cubicBezTo>
                    <a:pt x="1848" y="1310"/>
                    <a:pt x="1859" y="1344"/>
                    <a:pt x="1826" y="1333"/>
                  </a:cubicBezTo>
                  <a:cubicBezTo>
                    <a:pt x="1803" y="1333"/>
                    <a:pt x="1770" y="1288"/>
                    <a:pt x="1736" y="1310"/>
                  </a:cubicBezTo>
                  <a:cubicBezTo>
                    <a:pt x="1714" y="1333"/>
                    <a:pt x="1714" y="1321"/>
                    <a:pt x="1680" y="1333"/>
                  </a:cubicBezTo>
                  <a:cubicBezTo>
                    <a:pt x="1635" y="1333"/>
                    <a:pt x="1613" y="1333"/>
                    <a:pt x="1613" y="1299"/>
                  </a:cubicBezTo>
                  <a:cubicBezTo>
                    <a:pt x="1624" y="1277"/>
                    <a:pt x="1635" y="1232"/>
                    <a:pt x="1590" y="1243"/>
                  </a:cubicBezTo>
                  <a:cubicBezTo>
                    <a:pt x="1546" y="1254"/>
                    <a:pt x="1501" y="1254"/>
                    <a:pt x="1478" y="1232"/>
                  </a:cubicBezTo>
                  <a:cubicBezTo>
                    <a:pt x="1467" y="1221"/>
                    <a:pt x="1478" y="1187"/>
                    <a:pt x="1456" y="1176"/>
                  </a:cubicBezTo>
                  <a:cubicBezTo>
                    <a:pt x="1434" y="1176"/>
                    <a:pt x="1423" y="1108"/>
                    <a:pt x="1445" y="1086"/>
                  </a:cubicBezTo>
                  <a:cubicBezTo>
                    <a:pt x="1467" y="1064"/>
                    <a:pt x="1512" y="1041"/>
                    <a:pt x="1501" y="1030"/>
                  </a:cubicBezTo>
                  <a:cubicBezTo>
                    <a:pt x="1490" y="1008"/>
                    <a:pt x="1467" y="1030"/>
                    <a:pt x="1456" y="1008"/>
                  </a:cubicBezTo>
                  <a:cubicBezTo>
                    <a:pt x="1445" y="985"/>
                    <a:pt x="1456" y="963"/>
                    <a:pt x="1434" y="963"/>
                  </a:cubicBezTo>
                  <a:cubicBezTo>
                    <a:pt x="1411" y="963"/>
                    <a:pt x="1411" y="941"/>
                    <a:pt x="1411" y="929"/>
                  </a:cubicBezTo>
                  <a:cubicBezTo>
                    <a:pt x="1389" y="929"/>
                    <a:pt x="1378" y="918"/>
                    <a:pt x="1366" y="896"/>
                  </a:cubicBezTo>
                  <a:cubicBezTo>
                    <a:pt x="1344" y="873"/>
                    <a:pt x="1321" y="896"/>
                    <a:pt x="1321" y="929"/>
                  </a:cubicBezTo>
                  <a:cubicBezTo>
                    <a:pt x="1321" y="974"/>
                    <a:pt x="1333" y="985"/>
                    <a:pt x="1288" y="985"/>
                  </a:cubicBezTo>
                  <a:cubicBezTo>
                    <a:pt x="1232" y="997"/>
                    <a:pt x="1254" y="974"/>
                    <a:pt x="1243" y="952"/>
                  </a:cubicBezTo>
                  <a:cubicBezTo>
                    <a:pt x="1243" y="941"/>
                    <a:pt x="1210" y="941"/>
                    <a:pt x="1187" y="941"/>
                  </a:cubicBezTo>
                  <a:cubicBezTo>
                    <a:pt x="1176" y="941"/>
                    <a:pt x="1176" y="896"/>
                    <a:pt x="1187" y="873"/>
                  </a:cubicBezTo>
                  <a:cubicBezTo>
                    <a:pt x="1210" y="839"/>
                    <a:pt x="1198" y="828"/>
                    <a:pt x="1176" y="817"/>
                  </a:cubicBezTo>
                  <a:cubicBezTo>
                    <a:pt x="1165" y="817"/>
                    <a:pt x="1176" y="739"/>
                    <a:pt x="1176" y="705"/>
                  </a:cubicBezTo>
                  <a:cubicBezTo>
                    <a:pt x="1176" y="660"/>
                    <a:pt x="1187" y="638"/>
                    <a:pt x="1221" y="627"/>
                  </a:cubicBezTo>
                  <a:cubicBezTo>
                    <a:pt x="1265" y="627"/>
                    <a:pt x="1277" y="604"/>
                    <a:pt x="1254" y="593"/>
                  </a:cubicBezTo>
                  <a:cubicBezTo>
                    <a:pt x="1221" y="582"/>
                    <a:pt x="1210" y="582"/>
                    <a:pt x="1210" y="548"/>
                  </a:cubicBezTo>
                  <a:cubicBezTo>
                    <a:pt x="1210" y="503"/>
                    <a:pt x="1210" y="526"/>
                    <a:pt x="1176" y="481"/>
                  </a:cubicBezTo>
                  <a:cubicBezTo>
                    <a:pt x="1142" y="448"/>
                    <a:pt x="1154" y="324"/>
                    <a:pt x="1165" y="290"/>
                  </a:cubicBezTo>
                  <a:cubicBezTo>
                    <a:pt x="1176" y="268"/>
                    <a:pt x="1165" y="246"/>
                    <a:pt x="1131" y="224"/>
                  </a:cubicBezTo>
                  <a:cubicBezTo>
                    <a:pt x="1109" y="202"/>
                    <a:pt x="1120" y="168"/>
                    <a:pt x="1131" y="146"/>
                  </a:cubicBezTo>
                  <a:cubicBezTo>
                    <a:pt x="1142" y="123"/>
                    <a:pt x="1120" y="101"/>
                    <a:pt x="1075" y="56"/>
                  </a:cubicBezTo>
                  <a:cubicBezTo>
                    <a:pt x="1030" y="22"/>
                    <a:pt x="996" y="0"/>
                    <a:pt x="996" y="0"/>
                  </a:cubicBezTo>
                  <a:cubicBezTo>
                    <a:pt x="985" y="22"/>
                    <a:pt x="974" y="56"/>
                    <a:pt x="952" y="112"/>
                  </a:cubicBezTo>
                  <a:cubicBezTo>
                    <a:pt x="885" y="213"/>
                    <a:pt x="851" y="290"/>
                    <a:pt x="828" y="302"/>
                  </a:cubicBezTo>
                  <a:cubicBezTo>
                    <a:pt x="795" y="302"/>
                    <a:pt x="740" y="268"/>
                    <a:pt x="740" y="313"/>
                  </a:cubicBezTo>
                  <a:cubicBezTo>
                    <a:pt x="750" y="358"/>
                    <a:pt x="750" y="380"/>
                    <a:pt x="740" y="403"/>
                  </a:cubicBezTo>
                  <a:cubicBezTo>
                    <a:pt x="729" y="425"/>
                    <a:pt x="605" y="537"/>
                    <a:pt x="549" y="593"/>
                  </a:cubicBezTo>
                  <a:cubicBezTo>
                    <a:pt x="504" y="638"/>
                    <a:pt x="392" y="739"/>
                    <a:pt x="392" y="739"/>
                  </a:cubicBezTo>
                  <a:cubicBezTo>
                    <a:pt x="392" y="739"/>
                    <a:pt x="381" y="739"/>
                    <a:pt x="370" y="728"/>
                  </a:cubicBezTo>
                  <a:cubicBezTo>
                    <a:pt x="348" y="716"/>
                    <a:pt x="314" y="694"/>
                    <a:pt x="314" y="716"/>
                  </a:cubicBezTo>
                  <a:cubicBezTo>
                    <a:pt x="303" y="739"/>
                    <a:pt x="269" y="705"/>
                    <a:pt x="258" y="750"/>
                  </a:cubicBezTo>
                  <a:cubicBezTo>
                    <a:pt x="258" y="795"/>
                    <a:pt x="269" y="806"/>
                    <a:pt x="224" y="828"/>
                  </a:cubicBezTo>
                  <a:cubicBezTo>
                    <a:pt x="191" y="851"/>
                    <a:pt x="135" y="862"/>
                    <a:pt x="112" y="851"/>
                  </a:cubicBezTo>
                  <a:cubicBezTo>
                    <a:pt x="90" y="839"/>
                    <a:pt x="56" y="795"/>
                    <a:pt x="34" y="806"/>
                  </a:cubicBezTo>
                  <a:cubicBezTo>
                    <a:pt x="11" y="806"/>
                    <a:pt x="0" y="862"/>
                    <a:pt x="11" y="1008"/>
                  </a:cubicBezTo>
                  <a:cubicBezTo>
                    <a:pt x="22" y="1153"/>
                    <a:pt x="22" y="1165"/>
                    <a:pt x="56" y="1187"/>
                  </a:cubicBezTo>
                  <a:cubicBezTo>
                    <a:pt x="90" y="1210"/>
                    <a:pt x="135" y="1210"/>
                    <a:pt x="157" y="1265"/>
                  </a:cubicBezTo>
                  <a:cubicBezTo>
                    <a:pt x="168" y="1310"/>
                    <a:pt x="168" y="1344"/>
                    <a:pt x="213" y="1344"/>
                  </a:cubicBezTo>
                  <a:cubicBezTo>
                    <a:pt x="247" y="1355"/>
                    <a:pt x="325" y="1355"/>
                    <a:pt x="359" y="1389"/>
                  </a:cubicBezTo>
                  <a:cubicBezTo>
                    <a:pt x="392" y="1434"/>
                    <a:pt x="448" y="1434"/>
                    <a:pt x="482" y="1422"/>
                  </a:cubicBezTo>
                  <a:cubicBezTo>
                    <a:pt x="504" y="1400"/>
                    <a:pt x="493" y="1366"/>
                    <a:pt x="516" y="1355"/>
                  </a:cubicBezTo>
                  <a:cubicBezTo>
                    <a:pt x="538" y="1333"/>
                    <a:pt x="583" y="1288"/>
                    <a:pt x="617" y="1299"/>
                  </a:cubicBezTo>
                  <a:cubicBezTo>
                    <a:pt x="650" y="1299"/>
                    <a:pt x="661" y="1299"/>
                    <a:pt x="661" y="1355"/>
                  </a:cubicBezTo>
                  <a:cubicBezTo>
                    <a:pt x="661" y="1400"/>
                    <a:pt x="706" y="1434"/>
                    <a:pt x="684" y="1467"/>
                  </a:cubicBezTo>
                  <a:cubicBezTo>
                    <a:pt x="661" y="1512"/>
                    <a:pt x="628" y="1523"/>
                    <a:pt x="639" y="1568"/>
                  </a:cubicBezTo>
                  <a:cubicBezTo>
                    <a:pt x="650" y="1613"/>
                    <a:pt x="661" y="1680"/>
                    <a:pt x="650" y="1736"/>
                  </a:cubicBezTo>
                  <a:cubicBezTo>
                    <a:pt x="628" y="1781"/>
                    <a:pt x="583" y="1848"/>
                    <a:pt x="560" y="1882"/>
                  </a:cubicBezTo>
                  <a:cubicBezTo>
                    <a:pt x="560" y="1893"/>
                    <a:pt x="549" y="1915"/>
                    <a:pt x="538" y="1927"/>
                  </a:cubicBezTo>
                  <a:lnTo>
                    <a:pt x="549" y="1927"/>
                  </a:lnTo>
                  <a:cubicBezTo>
                    <a:pt x="549" y="1927"/>
                    <a:pt x="806" y="1915"/>
                    <a:pt x="851" y="1938"/>
                  </a:cubicBezTo>
                  <a:cubicBezTo>
                    <a:pt x="885" y="1960"/>
                    <a:pt x="1052" y="2095"/>
                    <a:pt x="1086" y="2117"/>
                  </a:cubicBezTo>
                  <a:cubicBezTo>
                    <a:pt x="1109" y="2151"/>
                    <a:pt x="1142" y="2139"/>
                    <a:pt x="1176" y="2106"/>
                  </a:cubicBezTo>
                  <a:cubicBezTo>
                    <a:pt x="1221" y="2072"/>
                    <a:pt x="1333" y="1972"/>
                    <a:pt x="1366" y="1994"/>
                  </a:cubicBezTo>
                  <a:cubicBezTo>
                    <a:pt x="1400" y="2005"/>
                    <a:pt x="1411" y="2050"/>
                    <a:pt x="1434" y="2072"/>
                  </a:cubicBezTo>
                  <a:cubicBezTo>
                    <a:pt x="1445" y="2083"/>
                    <a:pt x="1523" y="2128"/>
                    <a:pt x="1602" y="2139"/>
                  </a:cubicBezTo>
                  <a:cubicBezTo>
                    <a:pt x="1669" y="2151"/>
                    <a:pt x="1658" y="2151"/>
                    <a:pt x="1680" y="2117"/>
                  </a:cubicBezTo>
                  <a:cubicBezTo>
                    <a:pt x="1703" y="2083"/>
                    <a:pt x="1736" y="2050"/>
                    <a:pt x="1759" y="2072"/>
                  </a:cubicBezTo>
                  <a:cubicBezTo>
                    <a:pt x="1781" y="2095"/>
                    <a:pt x="1859" y="2173"/>
                    <a:pt x="1859" y="2173"/>
                  </a:cubicBezTo>
                  <a:cubicBezTo>
                    <a:pt x="1859" y="2173"/>
                    <a:pt x="1938" y="2139"/>
                    <a:pt x="1949" y="2117"/>
                  </a:cubicBezTo>
                  <a:cubicBezTo>
                    <a:pt x="1960" y="2095"/>
                    <a:pt x="1949" y="2072"/>
                    <a:pt x="1983" y="2072"/>
                  </a:cubicBezTo>
                  <a:cubicBezTo>
                    <a:pt x="2016" y="2072"/>
                    <a:pt x="2039" y="2061"/>
                    <a:pt x="2039" y="2028"/>
                  </a:cubicBezTo>
                  <a:cubicBezTo>
                    <a:pt x="2039" y="1994"/>
                    <a:pt x="2095" y="1983"/>
                    <a:pt x="2095" y="2016"/>
                  </a:cubicBezTo>
                  <a:cubicBezTo>
                    <a:pt x="2095" y="2039"/>
                    <a:pt x="2106" y="2083"/>
                    <a:pt x="2117" y="2095"/>
                  </a:cubicBezTo>
                  <a:cubicBezTo>
                    <a:pt x="2128" y="2106"/>
                    <a:pt x="2106" y="2196"/>
                    <a:pt x="2117" y="2229"/>
                  </a:cubicBezTo>
                  <a:cubicBezTo>
                    <a:pt x="2128" y="2263"/>
                    <a:pt x="2151" y="2296"/>
                    <a:pt x="2173" y="2274"/>
                  </a:cubicBezTo>
                  <a:cubicBezTo>
                    <a:pt x="2185" y="2240"/>
                    <a:pt x="2229" y="2240"/>
                    <a:pt x="2241" y="2285"/>
                  </a:cubicBezTo>
                  <a:cubicBezTo>
                    <a:pt x="2263" y="2319"/>
                    <a:pt x="2263" y="2341"/>
                    <a:pt x="2308" y="2341"/>
                  </a:cubicBezTo>
                  <a:cubicBezTo>
                    <a:pt x="2352" y="2341"/>
                    <a:pt x="2375" y="2364"/>
                    <a:pt x="2409" y="2341"/>
                  </a:cubicBezTo>
                  <a:cubicBezTo>
                    <a:pt x="2454" y="2319"/>
                    <a:pt x="2476" y="2285"/>
                    <a:pt x="2442" y="2285"/>
                  </a:cubicBezTo>
                  <a:cubicBezTo>
                    <a:pt x="2420" y="2274"/>
                    <a:pt x="2386" y="2229"/>
                    <a:pt x="2409" y="2229"/>
                  </a:cubicBezTo>
                  <a:cubicBezTo>
                    <a:pt x="2442" y="2218"/>
                    <a:pt x="2532" y="2184"/>
                    <a:pt x="2532" y="2184"/>
                  </a:cubicBezTo>
                  <a:cubicBezTo>
                    <a:pt x="2532" y="2184"/>
                    <a:pt x="2521" y="2117"/>
                    <a:pt x="2498" y="2106"/>
                  </a:cubicBezTo>
                  <a:cubicBezTo>
                    <a:pt x="2476" y="2095"/>
                    <a:pt x="2442" y="1994"/>
                    <a:pt x="2454" y="1994"/>
                  </a:cubicBezTo>
                  <a:cubicBezTo>
                    <a:pt x="2476" y="1983"/>
                    <a:pt x="2543" y="1972"/>
                    <a:pt x="2543" y="1938"/>
                  </a:cubicBezTo>
                  <a:cubicBezTo>
                    <a:pt x="2543" y="1904"/>
                    <a:pt x="2554" y="1870"/>
                    <a:pt x="2532" y="1870"/>
                  </a:cubicBezTo>
                  <a:cubicBezTo>
                    <a:pt x="2498" y="1870"/>
                    <a:pt x="2498" y="1759"/>
                    <a:pt x="2543" y="1736"/>
                  </a:cubicBezTo>
                  <a:cubicBezTo>
                    <a:pt x="2588" y="1703"/>
                    <a:pt x="2610" y="1624"/>
                    <a:pt x="2599" y="1590"/>
                  </a:cubicBezTo>
                  <a:cubicBezTo>
                    <a:pt x="2588" y="1568"/>
                    <a:pt x="2565" y="1568"/>
                    <a:pt x="2532" y="1557"/>
                  </a:cubicBezTo>
                  <a:cubicBezTo>
                    <a:pt x="2510" y="1557"/>
                    <a:pt x="2487" y="1534"/>
                    <a:pt x="2476" y="15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24"/>
            <p:cNvSpPr>
              <a:spLocks noChangeArrowheads="1"/>
            </p:cNvSpPr>
            <p:nvPr/>
          </p:nvSpPr>
          <p:spPr bwMode="auto">
            <a:xfrm>
              <a:off x="5916384" y="4348207"/>
              <a:ext cx="556427" cy="474065"/>
            </a:xfrm>
            <a:custGeom>
              <a:avLst/>
              <a:gdLst>
                <a:gd name="T0" fmla="*/ 1064 w 1603"/>
                <a:gd name="T1" fmla="*/ 1020 h 1369"/>
                <a:gd name="T2" fmla="*/ 1064 w 1603"/>
                <a:gd name="T3" fmla="*/ 1020 h 1369"/>
                <a:gd name="T4" fmla="*/ 1042 w 1603"/>
                <a:gd name="T5" fmla="*/ 863 h 1369"/>
                <a:gd name="T6" fmla="*/ 1019 w 1603"/>
                <a:gd name="T7" fmla="*/ 819 h 1369"/>
                <a:gd name="T8" fmla="*/ 986 w 1603"/>
                <a:gd name="T9" fmla="*/ 785 h 1369"/>
                <a:gd name="T10" fmla="*/ 986 w 1603"/>
                <a:gd name="T11" fmla="*/ 706 h 1369"/>
                <a:gd name="T12" fmla="*/ 1064 w 1603"/>
                <a:gd name="T13" fmla="*/ 617 h 1369"/>
                <a:gd name="T14" fmla="*/ 1075 w 1603"/>
                <a:gd name="T15" fmla="*/ 650 h 1369"/>
                <a:gd name="T16" fmla="*/ 1165 w 1603"/>
                <a:gd name="T17" fmla="*/ 650 h 1369"/>
                <a:gd name="T18" fmla="*/ 1210 w 1603"/>
                <a:gd name="T19" fmla="*/ 606 h 1369"/>
                <a:gd name="T20" fmla="*/ 1266 w 1603"/>
                <a:gd name="T21" fmla="*/ 617 h 1369"/>
                <a:gd name="T22" fmla="*/ 1299 w 1603"/>
                <a:gd name="T23" fmla="*/ 606 h 1369"/>
                <a:gd name="T24" fmla="*/ 1344 w 1603"/>
                <a:gd name="T25" fmla="*/ 572 h 1369"/>
                <a:gd name="T26" fmla="*/ 1344 w 1603"/>
                <a:gd name="T27" fmla="*/ 482 h 1369"/>
                <a:gd name="T28" fmla="*/ 1378 w 1603"/>
                <a:gd name="T29" fmla="*/ 449 h 1369"/>
                <a:gd name="T30" fmla="*/ 1445 w 1603"/>
                <a:gd name="T31" fmla="*/ 426 h 1369"/>
                <a:gd name="T32" fmla="*/ 1490 w 1603"/>
                <a:gd name="T33" fmla="*/ 460 h 1369"/>
                <a:gd name="T34" fmla="*/ 1557 w 1603"/>
                <a:gd name="T35" fmla="*/ 404 h 1369"/>
                <a:gd name="T36" fmla="*/ 1591 w 1603"/>
                <a:gd name="T37" fmla="*/ 359 h 1369"/>
                <a:gd name="T38" fmla="*/ 1512 w 1603"/>
                <a:gd name="T39" fmla="*/ 348 h 1369"/>
                <a:gd name="T40" fmla="*/ 1490 w 1603"/>
                <a:gd name="T41" fmla="*/ 224 h 1369"/>
                <a:gd name="T42" fmla="*/ 1434 w 1603"/>
                <a:gd name="T43" fmla="*/ 224 h 1369"/>
                <a:gd name="T44" fmla="*/ 1266 w 1603"/>
                <a:gd name="T45" fmla="*/ 157 h 1369"/>
                <a:gd name="T46" fmla="*/ 1198 w 1603"/>
                <a:gd name="T47" fmla="*/ 79 h 1369"/>
                <a:gd name="T48" fmla="*/ 1008 w 1603"/>
                <a:gd name="T49" fmla="*/ 191 h 1369"/>
                <a:gd name="T50" fmla="*/ 918 w 1603"/>
                <a:gd name="T51" fmla="*/ 202 h 1369"/>
                <a:gd name="T52" fmla="*/ 683 w 1603"/>
                <a:gd name="T53" fmla="*/ 23 h 1369"/>
                <a:gd name="T54" fmla="*/ 381 w 1603"/>
                <a:gd name="T55" fmla="*/ 12 h 1369"/>
                <a:gd name="T56" fmla="*/ 370 w 1603"/>
                <a:gd name="T57" fmla="*/ 12 h 1369"/>
                <a:gd name="T58" fmla="*/ 359 w 1603"/>
                <a:gd name="T59" fmla="*/ 34 h 1369"/>
                <a:gd name="T60" fmla="*/ 314 w 1603"/>
                <a:gd name="T61" fmla="*/ 135 h 1369"/>
                <a:gd name="T62" fmla="*/ 314 w 1603"/>
                <a:gd name="T63" fmla="*/ 258 h 1369"/>
                <a:gd name="T64" fmla="*/ 292 w 1603"/>
                <a:gd name="T65" fmla="*/ 348 h 1369"/>
                <a:gd name="T66" fmla="*/ 213 w 1603"/>
                <a:gd name="T67" fmla="*/ 437 h 1369"/>
                <a:gd name="T68" fmla="*/ 123 w 1603"/>
                <a:gd name="T69" fmla="*/ 572 h 1369"/>
                <a:gd name="T70" fmla="*/ 34 w 1603"/>
                <a:gd name="T71" fmla="*/ 684 h 1369"/>
                <a:gd name="T72" fmla="*/ 11 w 1603"/>
                <a:gd name="T73" fmla="*/ 740 h 1369"/>
                <a:gd name="T74" fmla="*/ 34 w 1603"/>
                <a:gd name="T75" fmla="*/ 785 h 1369"/>
                <a:gd name="T76" fmla="*/ 79 w 1603"/>
                <a:gd name="T77" fmla="*/ 852 h 1369"/>
                <a:gd name="T78" fmla="*/ 34 w 1603"/>
                <a:gd name="T79" fmla="*/ 919 h 1369"/>
                <a:gd name="T80" fmla="*/ 0 w 1603"/>
                <a:gd name="T81" fmla="*/ 1020 h 1369"/>
                <a:gd name="T82" fmla="*/ 79 w 1603"/>
                <a:gd name="T83" fmla="*/ 1065 h 1369"/>
                <a:gd name="T84" fmla="*/ 135 w 1603"/>
                <a:gd name="T85" fmla="*/ 1144 h 1369"/>
                <a:gd name="T86" fmla="*/ 269 w 1603"/>
                <a:gd name="T87" fmla="*/ 1132 h 1369"/>
                <a:gd name="T88" fmla="*/ 381 w 1603"/>
                <a:gd name="T89" fmla="*/ 1065 h 1369"/>
                <a:gd name="T90" fmla="*/ 460 w 1603"/>
                <a:gd name="T91" fmla="*/ 1144 h 1369"/>
                <a:gd name="T92" fmla="*/ 437 w 1603"/>
                <a:gd name="T93" fmla="*/ 1199 h 1369"/>
                <a:gd name="T94" fmla="*/ 460 w 1603"/>
                <a:gd name="T95" fmla="*/ 1267 h 1369"/>
                <a:gd name="T96" fmla="*/ 538 w 1603"/>
                <a:gd name="T97" fmla="*/ 1289 h 1369"/>
                <a:gd name="T98" fmla="*/ 604 w 1603"/>
                <a:gd name="T99" fmla="*/ 1255 h 1369"/>
                <a:gd name="T100" fmla="*/ 694 w 1603"/>
                <a:gd name="T101" fmla="*/ 1222 h 1369"/>
                <a:gd name="T102" fmla="*/ 739 w 1603"/>
                <a:gd name="T103" fmla="*/ 1300 h 1369"/>
                <a:gd name="T104" fmla="*/ 806 w 1603"/>
                <a:gd name="T105" fmla="*/ 1334 h 1369"/>
                <a:gd name="T106" fmla="*/ 873 w 1603"/>
                <a:gd name="T107" fmla="*/ 1345 h 1369"/>
                <a:gd name="T108" fmla="*/ 929 w 1603"/>
                <a:gd name="T109" fmla="*/ 1345 h 1369"/>
                <a:gd name="T110" fmla="*/ 1042 w 1603"/>
                <a:gd name="T111" fmla="*/ 1323 h 1369"/>
                <a:gd name="T112" fmla="*/ 1109 w 1603"/>
                <a:gd name="T113" fmla="*/ 1300 h 1369"/>
                <a:gd name="T114" fmla="*/ 1142 w 1603"/>
                <a:gd name="T115" fmla="*/ 1255 h 1369"/>
                <a:gd name="T116" fmla="*/ 1142 w 1603"/>
                <a:gd name="T117" fmla="*/ 1188 h 1369"/>
                <a:gd name="T118" fmla="*/ 1153 w 1603"/>
                <a:gd name="T119" fmla="*/ 1121 h 1369"/>
                <a:gd name="T120" fmla="*/ 1120 w 1603"/>
                <a:gd name="T121" fmla="*/ 1043 h 1369"/>
                <a:gd name="T122" fmla="*/ 1064 w 1603"/>
                <a:gd name="T123" fmla="*/ 1020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3" h="1369">
                  <a:moveTo>
                    <a:pt x="1064" y="1020"/>
                  </a:moveTo>
                  <a:lnTo>
                    <a:pt x="1064" y="1020"/>
                  </a:lnTo>
                  <a:cubicBezTo>
                    <a:pt x="1064" y="1009"/>
                    <a:pt x="1053" y="863"/>
                    <a:pt x="1042" y="863"/>
                  </a:cubicBezTo>
                  <a:cubicBezTo>
                    <a:pt x="1019" y="852"/>
                    <a:pt x="1008" y="830"/>
                    <a:pt x="1019" y="819"/>
                  </a:cubicBezTo>
                  <a:cubicBezTo>
                    <a:pt x="1030" y="807"/>
                    <a:pt x="1030" y="785"/>
                    <a:pt x="986" y="785"/>
                  </a:cubicBezTo>
                  <a:cubicBezTo>
                    <a:pt x="952" y="785"/>
                    <a:pt x="963" y="718"/>
                    <a:pt x="986" y="706"/>
                  </a:cubicBezTo>
                  <a:cubicBezTo>
                    <a:pt x="1019" y="695"/>
                    <a:pt x="1064" y="617"/>
                    <a:pt x="1064" y="617"/>
                  </a:cubicBezTo>
                  <a:cubicBezTo>
                    <a:pt x="1064" y="617"/>
                    <a:pt x="1064" y="628"/>
                    <a:pt x="1075" y="650"/>
                  </a:cubicBezTo>
                  <a:cubicBezTo>
                    <a:pt x="1097" y="662"/>
                    <a:pt x="1142" y="662"/>
                    <a:pt x="1165" y="650"/>
                  </a:cubicBezTo>
                  <a:cubicBezTo>
                    <a:pt x="1187" y="628"/>
                    <a:pt x="1187" y="595"/>
                    <a:pt x="1210" y="606"/>
                  </a:cubicBezTo>
                  <a:cubicBezTo>
                    <a:pt x="1221" y="606"/>
                    <a:pt x="1232" y="617"/>
                    <a:pt x="1266" y="617"/>
                  </a:cubicBezTo>
                  <a:cubicBezTo>
                    <a:pt x="1299" y="628"/>
                    <a:pt x="1299" y="639"/>
                    <a:pt x="1299" y="606"/>
                  </a:cubicBezTo>
                  <a:cubicBezTo>
                    <a:pt x="1299" y="572"/>
                    <a:pt x="1322" y="572"/>
                    <a:pt x="1344" y="572"/>
                  </a:cubicBezTo>
                  <a:cubicBezTo>
                    <a:pt x="1366" y="583"/>
                    <a:pt x="1355" y="527"/>
                    <a:pt x="1344" y="482"/>
                  </a:cubicBezTo>
                  <a:cubicBezTo>
                    <a:pt x="1344" y="437"/>
                    <a:pt x="1355" y="426"/>
                    <a:pt x="1378" y="449"/>
                  </a:cubicBezTo>
                  <a:cubicBezTo>
                    <a:pt x="1411" y="471"/>
                    <a:pt x="1434" y="415"/>
                    <a:pt x="1445" y="426"/>
                  </a:cubicBezTo>
                  <a:cubicBezTo>
                    <a:pt x="1456" y="437"/>
                    <a:pt x="1467" y="449"/>
                    <a:pt x="1490" y="460"/>
                  </a:cubicBezTo>
                  <a:cubicBezTo>
                    <a:pt x="1512" y="471"/>
                    <a:pt x="1523" y="426"/>
                    <a:pt x="1557" y="404"/>
                  </a:cubicBezTo>
                  <a:cubicBezTo>
                    <a:pt x="1591" y="381"/>
                    <a:pt x="1602" y="381"/>
                    <a:pt x="1591" y="359"/>
                  </a:cubicBezTo>
                  <a:cubicBezTo>
                    <a:pt x="1568" y="337"/>
                    <a:pt x="1512" y="348"/>
                    <a:pt x="1512" y="348"/>
                  </a:cubicBezTo>
                  <a:cubicBezTo>
                    <a:pt x="1490" y="224"/>
                    <a:pt x="1490" y="224"/>
                    <a:pt x="1490" y="224"/>
                  </a:cubicBezTo>
                  <a:cubicBezTo>
                    <a:pt x="1479" y="236"/>
                    <a:pt x="1467" y="224"/>
                    <a:pt x="1434" y="224"/>
                  </a:cubicBezTo>
                  <a:cubicBezTo>
                    <a:pt x="1355" y="213"/>
                    <a:pt x="1277" y="168"/>
                    <a:pt x="1266" y="157"/>
                  </a:cubicBezTo>
                  <a:cubicBezTo>
                    <a:pt x="1243" y="135"/>
                    <a:pt x="1232" y="90"/>
                    <a:pt x="1198" y="79"/>
                  </a:cubicBezTo>
                  <a:cubicBezTo>
                    <a:pt x="1165" y="57"/>
                    <a:pt x="1053" y="157"/>
                    <a:pt x="1008" y="191"/>
                  </a:cubicBezTo>
                  <a:cubicBezTo>
                    <a:pt x="974" y="224"/>
                    <a:pt x="941" y="236"/>
                    <a:pt x="918" y="202"/>
                  </a:cubicBezTo>
                  <a:cubicBezTo>
                    <a:pt x="884" y="180"/>
                    <a:pt x="717" y="45"/>
                    <a:pt x="683" y="23"/>
                  </a:cubicBezTo>
                  <a:cubicBezTo>
                    <a:pt x="638" y="0"/>
                    <a:pt x="381" y="12"/>
                    <a:pt x="381" y="12"/>
                  </a:cubicBezTo>
                  <a:lnTo>
                    <a:pt x="370" y="12"/>
                  </a:lnTo>
                  <a:cubicBezTo>
                    <a:pt x="370" y="23"/>
                    <a:pt x="359" y="34"/>
                    <a:pt x="359" y="34"/>
                  </a:cubicBezTo>
                  <a:cubicBezTo>
                    <a:pt x="359" y="45"/>
                    <a:pt x="336" y="90"/>
                    <a:pt x="314" y="135"/>
                  </a:cubicBezTo>
                  <a:cubicBezTo>
                    <a:pt x="303" y="168"/>
                    <a:pt x="292" y="236"/>
                    <a:pt x="314" y="258"/>
                  </a:cubicBezTo>
                  <a:cubicBezTo>
                    <a:pt x="336" y="281"/>
                    <a:pt x="314" y="325"/>
                    <a:pt x="292" y="348"/>
                  </a:cubicBezTo>
                  <a:cubicBezTo>
                    <a:pt x="280" y="381"/>
                    <a:pt x="247" y="393"/>
                    <a:pt x="213" y="437"/>
                  </a:cubicBezTo>
                  <a:cubicBezTo>
                    <a:pt x="191" y="493"/>
                    <a:pt x="168" y="550"/>
                    <a:pt x="123" y="572"/>
                  </a:cubicBezTo>
                  <a:cubicBezTo>
                    <a:pt x="90" y="595"/>
                    <a:pt x="56" y="639"/>
                    <a:pt x="34" y="684"/>
                  </a:cubicBezTo>
                  <a:cubicBezTo>
                    <a:pt x="11" y="740"/>
                    <a:pt x="34" y="729"/>
                    <a:pt x="11" y="740"/>
                  </a:cubicBezTo>
                  <a:cubicBezTo>
                    <a:pt x="0" y="762"/>
                    <a:pt x="23" y="785"/>
                    <a:pt x="34" y="785"/>
                  </a:cubicBezTo>
                  <a:cubicBezTo>
                    <a:pt x="56" y="785"/>
                    <a:pt x="79" y="830"/>
                    <a:pt x="79" y="852"/>
                  </a:cubicBezTo>
                  <a:cubicBezTo>
                    <a:pt x="79" y="863"/>
                    <a:pt x="56" y="886"/>
                    <a:pt x="34" y="919"/>
                  </a:cubicBezTo>
                  <a:cubicBezTo>
                    <a:pt x="11" y="953"/>
                    <a:pt x="0" y="1009"/>
                    <a:pt x="0" y="1020"/>
                  </a:cubicBezTo>
                  <a:cubicBezTo>
                    <a:pt x="0" y="1020"/>
                    <a:pt x="79" y="1009"/>
                    <a:pt x="79" y="1065"/>
                  </a:cubicBezTo>
                  <a:cubicBezTo>
                    <a:pt x="90" y="1110"/>
                    <a:pt x="90" y="1155"/>
                    <a:pt x="135" y="1144"/>
                  </a:cubicBezTo>
                  <a:cubicBezTo>
                    <a:pt x="180" y="1144"/>
                    <a:pt x="247" y="1155"/>
                    <a:pt x="269" y="1132"/>
                  </a:cubicBezTo>
                  <a:cubicBezTo>
                    <a:pt x="280" y="1110"/>
                    <a:pt x="325" y="1065"/>
                    <a:pt x="381" y="1065"/>
                  </a:cubicBezTo>
                  <a:cubicBezTo>
                    <a:pt x="449" y="1065"/>
                    <a:pt x="471" y="1121"/>
                    <a:pt x="460" y="1144"/>
                  </a:cubicBezTo>
                  <a:cubicBezTo>
                    <a:pt x="460" y="1177"/>
                    <a:pt x="415" y="1188"/>
                    <a:pt x="437" y="1199"/>
                  </a:cubicBezTo>
                  <a:cubicBezTo>
                    <a:pt x="449" y="1222"/>
                    <a:pt x="460" y="1244"/>
                    <a:pt x="460" y="1267"/>
                  </a:cubicBezTo>
                  <a:cubicBezTo>
                    <a:pt x="449" y="1289"/>
                    <a:pt x="516" y="1278"/>
                    <a:pt x="538" y="1289"/>
                  </a:cubicBezTo>
                  <a:cubicBezTo>
                    <a:pt x="549" y="1312"/>
                    <a:pt x="582" y="1278"/>
                    <a:pt x="604" y="1255"/>
                  </a:cubicBezTo>
                  <a:cubicBezTo>
                    <a:pt x="627" y="1222"/>
                    <a:pt x="660" y="1199"/>
                    <a:pt x="694" y="1222"/>
                  </a:cubicBezTo>
                  <a:cubicBezTo>
                    <a:pt x="728" y="1244"/>
                    <a:pt x="705" y="1289"/>
                    <a:pt x="739" y="1300"/>
                  </a:cubicBezTo>
                  <a:cubicBezTo>
                    <a:pt x="773" y="1300"/>
                    <a:pt x="784" y="1323"/>
                    <a:pt x="806" y="1334"/>
                  </a:cubicBezTo>
                  <a:cubicBezTo>
                    <a:pt x="828" y="1345"/>
                    <a:pt x="851" y="1323"/>
                    <a:pt x="873" y="1345"/>
                  </a:cubicBezTo>
                  <a:cubicBezTo>
                    <a:pt x="884" y="1368"/>
                    <a:pt x="907" y="1368"/>
                    <a:pt x="929" y="1345"/>
                  </a:cubicBezTo>
                  <a:cubicBezTo>
                    <a:pt x="952" y="1323"/>
                    <a:pt x="1019" y="1312"/>
                    <a:pt x="1042" y="1323"/>
                  </a:cubicBezTo>
                  <a:cubicBezTo>
                    <a:pt x="1064" y="1345"/>
                    <a:pt x="1086" y="1323"/>
                    <a:pt x="1109" y="1300"/>
                  </a:cubicBezTo>
                  <a:cubicBezTo>
                    <a:pt x="1120" y="1289"/>
                    <a:pt x="1153" y="1267"/>
                    <a:pt x="1142" y="1255"/>
                  </a:cubicBezTo>
                  <a:cubicBezTo>
                    <a:pt x="1131" y="1244"/>
                    <a:pt x="1131" y="1199"/>
                    <a:pt x="1142" y="1188"/>
                  </a:cubicBezTo>
                  <a:cubicBezTo>
                    <a:pt x="1142" y="1166"/>
                    <a:pt x="1153" y="1144"/>
                    <a:pt x="1153" y="1121"/>
                  </a:cubicBezTo>
                  <a:cubicBezTo>
                    <a:pt x="1153" y="1121"/>
                    <a:pt x="1131" y="1054"/>
                    <a:pt x="1120" y="1043"/>
                  </a:cubicBezTo>
                  <a:cubicBezTo>
                    <a:pt x="1109" y="1020"/>
                    <a:pt x="1053" y="1031"/>
                    <a:pt x="1064" y="102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25"/>
            <p:cNvSpPr>
              <a:spLocks noChangeArrowheads="1"/>
            </p:cNvSpPr>
            <p:nvPr/>
          </p:nvSpPr>
          <p:spPr bwMode="auto">
            <a:xfrm>
              <a:off x="6523256" y="5013427"/>
              <a:ext cx="194139" cy="183509"/>
            </a:xfrm>
            <a:custGeom>
              <a:avLst/>
              <a:gdLst>
                <a:gd name="T0" fmla="*/ 470 w 561"/>
                <a:gd name="T1" fmla="*/ 89 h 527"/>
                <a:gd name="T2" fmla="*/ 470 w 561"/>
                <a:gd name="T3" fmla="*/ 89 h 527"/>
                <a:gd name="T4" fmla="*/ 403 w 561"/>
                <a:gd name="T5" fmla="*/ 22 h 527"/>
                <a:gd name="T6" fmla="*/ 358 w 561"/>
                <a:gd name="T7" fmla="*/ 11 h 527"/>
                <a:gd name="T8" fmla="*/ 291 w 561"/>
                <a:gd name="T9" fmla="*/ 22 h 527"/>
                <a:gd name="T10" fmla="*/ 179 w 561"/>
                <a:gd name="T11" fmla="*/ 0 h 527"/>
                <a:gd name="T12" fmla="*/ 112 w 561"/>
                <a:gd name="T13" fmla="*/ 0 h 527"/>
                <a:gd name="T14" fmla="*/ 112 w 561"/>
                <a:gd name="T15" fmla="*/ 112 h 527"/>
                <a:gd name="T16" fmla="*/ 78 w 561"/>
                <a:gd name="T17" fmla="*/ 134 h 527"/>
                <a:gd name="T18" fmla="*/ 0 w 561"/>
                <a:gd name="T19" fmla="*/ 190 h 527"/>
                <a:gd name="T20" fmla="*/ 0 w 561"/>
                <a:gd name="T21" fmla="*/ 291 h 527"/>
                <a:gd name="T22" fmla="*/ 22 w 561"/>
                <a:gd name="T23" fmla="*/ 325 h 527"/>
                <a:gd name="T24" fmla="*/ 67 w 561"/>
                <a:gd name="T25" fmla="*/ 369 h 527"/>
                <a:gd name="T26" fmla="*/ 112 w 561"/>
                <a:gd name="T27" fmla="*/ 437 h 527"/>
                <a:gd name="T28" fmla="*/ 167 w 561"/>
                <a:gd name="T29" fmla="*/ 459 h 527"/>
                <a:gd name="T30" fmla="*/ 280 w 561"/>
                <a:gd name="T31" fmla="*/ 493 h 527"/>
                <a:gd name="T32" fmla="*/ 291 w 561"/>
                <a:gd name="T33" fmla="*/ 526 h 527"/>
                <a:gd name="T34" fmla="*/ 313 w 561"/>
                <a:gd name="T35" fmla="*/ 493 h 527"/>
                <a:gd name="T36" fmla="*/ 403 w 561"/>
                <a:gd name="T37" fmla="*/ 448 h 527"/>
                <a:gd name="T38" fmla="*/ 448 w 561"/>
                <a:gd name="T39" fmla="*/ 403 h 527"/>
                <a:gd name="T40" fmla="*/ 538 w 561"/>
                <a:gd name="T41" fmla="*/ 448 h 527"/>
                <a:gd name="T42" fmla="*/ 526 w 561"/>
                <a:gd name="T43" fmla="*/ 358 h 527"/>
                <a:gd name="T44" fmla="*/ 504 w 561"/>
                <a:gd name="T45" fmla="*/ 291 h 527"/>
                <a:gd name="T46" fmla="*/ 515 w 561"/>
                <a:gd name="T47" fmla="*/ 168 h 527"/>
                <a:gd name="T48" fmla="*/ 549 w 561"/>
                <a:gd name="T49" fmla="*/ 112 h 527"/>
                <a:gd name="T50" fmla="*/ 560 w 561"/>
                <a:gd name="T51" fmla="*/ 56 h 527"/>
                <a:gd name="T52" fmla="*/ 470 w 561"/>
                <a:gd name="T53" fmla="*/ 89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1" h="527">
                  <a:moveTo>
                    <a:pt x="470" y="89"/>
                  </a:moveTo>
                  <a:lnTo>
                    <a:pt x="470" y="89"/>
                  </a:lnTo>
                  <a:cubicBezTo>
                    <a:pt x="436" y="67"/>
                    <a:pt x="414" y="45"/>
                    <a:pt x="403" y="22"/>
                  </a:cubicBezTo>
                  <a:cubicBezTo>
                    <a:pt x="380" y="0"/>
                    <a:pt x="369" y="0"/>
                    <a:pt x="358" y="11"/>
                  </a:cubicBezTo>
                  <a:cubicBezTo>
                    <a:pt x="347" y="22"/>
                    <a:pt x="325" y="0"/>
                    <a:pt x="291" y="22"/>
                  </a:cubicBezTo>
                  <a:cubicBezTo>
                    <a:pt x="269" y="45"/>
                    <a:pt x="224" y="0"/>
                    <a:pt x="179" y="0"/>
                  </a:cubicBezTo>
                  <a:cubicBezTo>
                    <a:pt x="123" y="0"/>
                    <a:pt x="112" y="0"/>
                    <a:pt x="112" y="0"/>
                  </a:cubicBezTo>
                  <a:cubicBezTo>
                    <a:pt x="112" y="0"/>
                    <a:pt x="112" y="100"/>
                    <a:pt x="112" y="112"/>
                  </a:cubicBezTo>
                  <a:cubicBezTo>
                    <a:pt x="112" y="134"/>
                    <a:pt x="100" y="145"/>
                    <a:pt x="78" y="134"/>
                  </a:cubicBezTo>
                  <a:cubicBezTo>
                    <a:pt x="56" y="123"/>
                    <a:pt x="0" y="168"/>
                    <a:pt x="0" y="190"/>
                  </a:cubicBezTo>
                  <a:cubicBezTo>
                    <a:pt x="0" y="213"/>
                    <a:pt x="0" y="258"/>
                    <a:pt x="0" y="291"/>
                  </a:cubicBezTo>
                  <a:cubicBezTo>
                    <a:pt x="11" y="302"/>
                    <a:pt x="22" y="313"/>
                    <a:pt x="22" y="325"/>
                  </a:cubicBezTo>
                  <a:cubicBezTo>
                    <a:pt x="33" y="347"/>
                    <a:pt x="67" y="336"/>
                    <a:pt x="67" y="369"/>
                  </a:cubicBezTo>
                  <a:cubicBezTo>
                    <a:pt x="67" y="403"/>
                    <a:pt x="78" y="448"/>
                    <a:pt x="112" y="437"/>
                  </a:cubicBezTo>
                  <a:cubicBezTo>
                    <a:pt x="145" y="437"/>
                    <a:pt x="134" y="459"/>
                    <a:pt x="167" y="459"/>
                  </a:cubicBezTo>
                  <a:cubicBezTo>
                    <a:pt x="201" y="459"/>
                    <a:pt x="257" y="459"/>
                    <a:pt x="280" y="493"/>
                  </a:cubicBezTo>
                  <a:cubicBezTo>
                    <a:pt x="291" y="504"/>
                    <a:pt x="291" y="515"/>
                    <a:pt x="291" y="526"/>
                  </a:cubicBezTo>
                  <a:cubicBezTo>
                    <a:pt x="302" y="526"/>
                    <a:pt x="313" y="515"/>
                    <a:pt x="313" y="493"/>
                  </a:cubicBezTo>
                  <a:cubicBezTo>
                    <a:pt x="325" y="471"/>
                    <a:pt x="392" y="471"/>
                    <a:pt x="403" y="448"/>
                  </a:cubicBezTo>
                  <a:cubicBezTo>
                    <a:pt x="414" y="426"/>
                    <a:pt x="414" y="403"/>
                    <a:pt x="448" y="403"/>
                  </a:cubicBezTo>
                  <a:cubicBezTo>
                    <a:pt x="470" y="414"/>
                    <a:pt x="526" y="459"/>
                    <a:pt x="538" y="448"/>
                  </a:cubicBezTo>
                  <a:cubicBezTo>
                    <a:pt x="549" y="437"/>
                    <a:pt x="549" y="369"/>
                    <a:pt x="526" y="358"/>
                  </a:cubicBezTo>
                  <a:cubicBezTo>
                    <a:pt x="504" y="347"/>
                    <a:pt x="526" y="313"/>
                    <a:pt x="504" y="291"/>
                  </a:cubicBezTo>
                  <a:cubicBezTo>
                    <a:pt x="481" y="269"/>
                    <a:pt x="493" y="179"/>
                    <a:pt x="515" y="168"/>
                  </a:cubicBezTo>
                  <a:cubicBezTo>
                    <a:pt x="538" y="145"/>
                    <a:pt x="549" y="134"/>
                    <a:pt x="549" y="112"/>
                  </a:cubicBezTo>
                  <a:cubicBezTo>
                    <a:pt x="560" y="100"/>
                    <a:pt x="560" y="78"/>
                    <a:pt x="560" y="56"/>
                  </a:cubicBezTo>
                  <a:cubicBezTo>
                    <a:pt x="538" y="67"/>
                    <a:pt x="504" y="100"/>
                    <a:pt x="470" y="8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26"/>
            <p:cNvSpPr>
              <a:spLocks noChangeArrowheads="1"/>
            </p:cNvSpPr>
            <p:nvPr/>
          </p:nvSpPr>
          <p:spPr bwMode="auto">
            <a:xfrm>
              <a:off x="6538543" y="4868149"/>
              <a:ext cx="116177" cy="160570"/>
            </a:xfrm>
            <a:custGeom>
              <a:avLst/>
              <a:gdLst>
                <a:gd name="T0" fmla="*/ 314 w 337"/>
                <a:gd name="T1" fmla="*/ 336 h 461"/>
                <a:gd name="T2" fmla="*/ 314 w 337"/>
                <a:gd name="T3" fmla="*/ 336 h 461"/>
                <a:gd name="T4" fmla="*/ 325 w 337"/>
                <a:gd name="T5" fmla="*/ 291 h 461"/>
                <a:gd name="T6" fmla="*/ 292 w 337"/>
                <a:gd name="T7" fmla="*/ 224 h 461"/>
                <a:gd name="T8" fmla="*/ 236 w 337"/>
                <a:gd name="T9" fmla="*/ 157 h 461"/>
                <a:gd name="T10" fmla="*/ 202 w 337"/>
                <a:gd name="T11" fmla="*/ 112 h 461"/>
                <a:gd name="T12" fmla="*/ 202 w 337"/>
                <a:gd name="T13" fmla="*/ 45 h 461"/>
                <a:gd name="T14" fmla="*/ 157 w 337"/>
                <a:gd name="T15" fmla="*/ 34 h 461"/>
                <a:gd name="T16" fmla="*/ 135 w 337"/>
                <a:gd name="T17" fmla="*/ 101 h 461"/>
                <a:gd name="T18" fmla="*/ 112 w 337"/>
                <a:gd name="T19" fmla="*/ 135 h 461"/>
                <a:gd name="T20" fmla="*/ 56 w 337"/>
                <a:gd name="T21" fmla="*/ 213 h 461"/>
                <a:gd name="T22" fmla="*/ 12 w 337"/>
                <a:gd name="T23" fmla="*/ 258 h 461"/>
                <a:gd name="T24" fmla="*/ 34 w 337"/>
                <a:gd name="T25" fmla="*/ 325 h 461"/>
                <a:gd name="T26" fmla="*/ 68 w 337"/>
                <a:gd name="T27" fmla="*/ 415 h 461"/>
                <a:gd name="T28" fmla="*/ 135 w 337"/>
                <a:gd name="T29" fmla="*/ 415 h 461"/>
                <a:gd name="T30" fmla="*/ 247 w 337"/>
                <a:gd name="T31" fmla="*/ 437 h 461"/>
                <a:gd name="T32" fmla="*/ 314 w 337"/>
                <a:gd name="T33" fmla="*/ 426 h 461"/>
                <a:gd name="T34" fmla="*/ 336 w 337"/>
                <a:gd name="T35" fmla="*/ 415 h 461"/>
                <a:gd name="T36" fmla="*/ 314 w 337"/>
                <a:gd name="T37" fmla="*/ 336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7" h="461">
                  <a:moveTo>
                    <a:pt x="314" y="336"/>
                  </a:moveTo>
                  <a:lnTo>
                    <a:pt x="314" y="336"/>
                  </a:lnTo>
                  <a:cubicBezTo>
                    <a:pt x="336" y="325"/>
                    <a:pt x="336" y="325"/>
                    <a:pt x="325" y="291"/>
                  </a:cubicBezTo>
                  <a:cubicBezTo>
                    <a:pt x="314" y="247"/>
                    <a:pt x="336" y="224"/>
                    <a:pt x="292" y="224"/>
                  </a:cubicBezTo>
                  <a:cubicBezTo>
                    <a:pt x="258" y="213"/>
                    <a:pt x="236" y="191"/>
                    <a:pt x="236" y="157"/>
                  </a:cubicBezTo>
                  <a:cubicBezTo>
                    <a:pt x="236" y="124"/>
                    <a:pt x="225" y="112"/>
                    <a:pt x="202" y="112"/>
                  </a:cubicBezTo>
                  <a:cubicBezTo>
                    <a:pt x="180" y="112"/>
                    <a:pt x="202" y="67"/>
                    <a:pt x="202" y="45"/>
                  </a:cubicBezTo>
                  <a:cubicBezTo>
                    <a:pt x="191" y="34"/>
                    <a:pt x="146" y="0"/>
                    <a:pt x="157" y="34"/>
                  </a:cubicBezTo>
                  <a:cubicBezTo>
                    <a:pt x="157" y="67"/>
                    <a:pt x="146" y="101"/>
                    <a:pt x="135" y="101"/>
                  </a:cubicBezTo>
                  <a:cubicBezTo>
                    <a:pt x="112" y="112"/>
                    <a:pt x="101" y="101"/>
                    <a:pt x="112" y="135"/>
                  </a:cubicBezTo>
                  <a:cubicBezTo>
                    <a:pt x="112" y="179"/>
                    <a:pt x="79" y="213"/>
                    <a:pt x="56" y="213"/>
                  </a:cubicBezTo>
                  <a:cubicBezTo>
                    <a:pt x="34" y="224"/>
                    <a:pt x="12" y="235"/>
                    <a:pt x="12" y="258"/>
                  </a:cubicBezTo>
                  <a:cubicBezTo>
                    <a:pt x="0" y="280"/>
                    <a:pt x="0" y="291"/>
                    <a:pt x="34" y="325"/>
                  </a:cubicBezTo>
                  <a:cubicBezTo>
                    <a:pt x="68" y="348"/>
                    <a:pt x="68" y="415"/>
                    <a:pt x="68" y="415"/>
                  </a:cubicBezTo>
                  <a:cubicBezTo>
                    <a:pt x="68" y="415"/>
                    <a:pt x="79" y="415"/>
                    <a:pt x="135" y="415"/>
                  </a:cubicBezTo>
                  <a:cubicBezTo>
                    <a:pt x="180" y="415"/>
                    <a:pt x="225" y="460"/>
                    <a:pt x="247" y="437"/>
                  </a:cubicBezTo>
                  <a:cubicBezTo>
                    <a:pt x="281" y="415"/>
                    <a:pt x="303" y="437"/>
                    <a:pt x="314" y="426"/>
                  </a:cubicBezTo>
                  <a:cubicBezTo>
                    <a:pt x="325" y="415"/>
                    <a:pt x="336" y="415"/>
                    <a:pt x="336" y="415"/>
                  </a:cubicBezTo>
                  <a:cubicBezTo>
                    <a:pt x="336" y="415"/>
                    <a:pt x="303" y="359"/>
                    <a:pt x="314" y="33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27"/>
            <p:cNvSpPr>
              <a:spLocks noChangeArrowheads="1"/>
            </p:cNvSpPr>
            <p:nvPr/>
          </p:nvSpPr>
          <p:spPr bwMode="auto">
            <a:xfrm>
              <a:off x="5532694" y="4698403"/>
              <a:ext cx="854514" cy="625461"/>
            </a:xfrm>
            <a:custGeom>
              <a:avLst/>
              <a:gdLst>
                <a:gd name="T0" fmla="*/ 1053 w 2465"/>
                <a:gd name="T1" fmla="*/ 1614 h 1805"/>
                <a:gd name="T2" fmla="*/ 1244 w 2465"/>
                <a:gd name="T3" fmla="*/ 1546 h 1805"/>
                <a:gd name="T4" fmla="*/ 1255 w 2465"/>
                <a:gd name="T5" fmla="*/ 1345 h 1805"/>
                <a:gd name="T6" fmla="*/ 1378 w 2465"/>
                <a:gd name="T7" fmla="*/ 1277 h 1805"/>
                <a:gd name="T8" fmla="*/ 1602 w 2465"/>
                <a:gd name="T9" fmla="*/ 1334 h 1805"/>
                <a:gd name="T10" fmla="*/ 1870 w 2465"/>
                <a:gd name="T11" fmla="*/ 1379 h 1805"/>
                <a:gd name="T12" fmla="*/ 2038 w 2465"/>
                <a:gd name="T13" fmla="*/ 1423 h 1805"/>
                <a:gd name="T14" fmla="*/ 2016 w 2465"/>
                <a:gd name="T15" fmla="*/ 1322 h 1805"/>
                <a:gd name="T16" fmla="*/ 1971 w 2465"/>
                <a:gd name="T17" fmla="*/ 1166 h 1805"/>
                <a:gd name="T18" fmla="*/ 2038 w 2465"/>
                <a:gd name="T19" fmla="*/ 1110 h 1805"/>
                <a:gd name="T20" fmla="*/ 2262 w 2465"/>
                <a:gd name="T21" fmla="*/ 885 h 1805"/>
                <a:gd name="T22" fmla="*/ 2352 w 2465"/>
                <a:gd name="T23" fmla="*/ 684 h 1805"/>
                <a:gd name="T24" fmla="*/ 2319 w 2465"/>
                <a:gd name="T25" fmla="*/ 538 h 1805"/>
                <a:gd name="T26" fmla="*/ 2408 w 2465"/>
                <a:gd name="T27" fmla="*/ 437 h 1805"/>
                <a:gd name="T28" fmla="*/ 2442 w 2465"/>
                <a:gd name="T29" fmla="*/ 325 h 1805"/>
                <a:gd name="T30" fmla="*/ 2419 w 2465"/>
                <a:gd name="T31" fmla="*/ 213 h 1805"/>
                <a:gd name="T32" fmla="*/ 2262 w 2465"/>
                <a:gd name="T33" fmla="*/ 112 h 1805"/>
                <a:gd name="T34" fmla="*/ 2251 w 2465"/>
                <a:gd name="T35" fmla="*/ 246 h 1805"/>
                <a:gd name="T36" fmla="*/ 2151 w 2465"/>
                <a:gd name="T37" fmla="*/ 314 h 1805"/>
                <a:gd name="T38" fmla="*/ 1982 w 2465"/>
                <a:gd name="T39" fmla="*/ 336 h 1805"/>
                <a:gd name="T40" fmla="*/ 1848 w 2465"/>
                <a:gd name="T41" fmla="*/ 291 h 1805"/>
                <a:gd name="T42" fmla="*/ 1713 w 2465"/>
                <a:gd name="T43" fmla="*/ 246 h 1805"/>
                <a:gd name="T44" fmla="*/ 1569 w 2465"/>
                <a:gd name="T45" fmla="*/ 258 h 1805"/>
                <a:gd name="T46" fmla="*/ 1569 w 2465"/>
                <a:gd name="T47" fmla="*/ 135 h 1805"/>
                <a:gd name="T48" fmla="*/ 1378 w 2465"/>
                <a:gd name="T49" fmla="*/ 123 h 1805"/>
                <a:gd name="T50" fmla="*/ 1188 w 2465"/>
                <a:gd name="T51" fmla="*/ 56 h 1805"/>
                <a:gd name="T52" fmla="*/ 1053 w 2465"/>
                <a:gd name="T53" fmla="*/ 34 h 1805"/>
                <a:gd name="T54" fmla="*/ 896 w 2465"/>
                <a:gd name="T55" fmla="*/ 45 h 1805"/>
                <a:gd name="T56" fmla="*/ 784 w 2465"/>
                <a:gd name="T57" fmla="*/ 101 h 1805"/>
                <a:gd name="T58" fmla="*/ 638 w 2465"/>
                <a:gd name="T59" fmla="*/ 168 h 1805"/>
                <a:gd name="T60" fmla="*/ 482 w 2465"/>
                <a:gd name="T61" fmla="*/ 213 h 1805"/>
                <a:gd name="T62" fmla="*/ 515 w 2465"/>
                <a:gd name="T63" fmla="*/ 314 h 1805"/>
                <a:gd name="T64" fmla="*/ 650 w 2465"/>
                <a:gd name="T65" fmla="*/ 336 h 1805"/>
                <a:gd name="T66" fmla="*/ 650 w 2465"/>
                <a:gd name="T67" fmla="*/ 403 h 1805"/>
                <a:gd name="T68" fmla="*/ 627 w 2465"/>
                <a:gd name="T69" fmla="*/ 538 h 1805"/>
                <a:gd name="T70" fmla="*/ 717 w 2465"/>
                <a:gd name="T71" fmla="*/ 617 h 1805"/>
                <a:gd name="T72" fmla="*/ 796 w 2465"/>
                <a:gd name="T73" fmla="*/ 695 h 1805"/>
                <a:gd name="T74" fmla="*/ 683 w 2465"/>
                <a:gd name="T75" fmla="*/ 852 h 1805"/>
                <a:gd name="T76" fmla="*/ 571 w 2465"/>
                <a:gd name="T77" fmla="*/ 874 h 1805"/>
                <a:gd name="T78" fmla="*/ 470 w 2465"/>
                <a:gd name="T79" fmla="*/ 964 h 1805"/>
                <a:gd name="T80" fmla="*/ 392 w 2465"/>
                <a:gd name="T81" fmla="*/ 1053 h 1805"/>
                <a:gd name="T82" fmla="*/ 291 w 2465"/>
                <a:gd name="T83" fmla="*/ 986 h 1805"/>
                <a:gd name="T84" fmla="*/ 157 w 2465"/>
                <a:gd name="T85" fmla="*/ 1065 h 1805"/>
                <a:gd name="T86" fmla="*/ 0 w 2465"/>
                <a:gd name="T87" fmla="*/ 1210 h 1805"/>
                <a:gd name="T88" fmla="*/ 22 w 2465"/>
                <a:gd name="T89" fmla="*/ 1255 h 1805"/>
                <a:gd name="T90" fmla="*/ 325 w 2465"/>
                <a:gd name="T91" fmla="*/ 1535 h 1805"/>
                <a:gd name="T92" fmla="*/ 963 w 2465"/>
                <a:gd name="T93" fmla="*/ 1782 h 1805"/>
                <a:gd name="T94" fmla="*/ 1098 w 2465"/>
                <a:gd name="T95" fmla="*/ 1759 h 1805"/>
                <a:gd name="T96" fmla="*/ 1053 w 2465"/>
                <a:gd name="T97" fmla="*/ 1614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5" h="1805">
                  <a:moveTo>
                    <a:pt x="1053" y="1614"/>
                  </a:moveTo>
                  <a:lnTo>
                    <a:pt x="1053" y="1614"/>
                  </a:lnTo>
                  <a:cubicBezTo>
                    <a:pt x="1065" y="1580"/>
                    <a:pt x="1143" y="1603"/>
                    <a:pt x="1154" y="1580"/>
                  </a:cubicBezTo>
                  <a:cubicBezTo>
                    <a:pt x="1165" y="1569"/>
                    <a:pt x="1199" y="1535"/>
                    <a:pt x="1244" y="1546"/>
                  </a:cubicBezTo>
                  <a:cubicBezTo>
                    <a:pt x="1300" y="1558"/>
                    <a:pt x="1289" y="1502"/>
                    <a:pt x="1266" y="1479"/>
                  </a:cubicBezTo>
                  <a:cubicBezTo>
                    <a:pt x="1232" y="1457"/>
                    <a:pt x="1244" y="1401"/>
                    <a:pt x="1255" y="1345"/>
                  </a:cubicBezTo>
                  <a:cubicBezTo>
                    <a:pt x="1255" y="1289"/>
                    <a:pt x="1266" y="1277"/>
                    <a:pt x="1289" y="1289"/>
                  </a:cubicBezTo>
                  <a:cubicBezTo>
                    <a:pt x="1322" y="1289"/>
                    <a:pt x="1356" y="1277"/>
                    <a:pt x="1378" y="1277"/>
                  </a:cubicBezTo>
                  <a:cubicBezTo>
                    <a:pt x="1412" y="1266"/>
                    <a:pt x="1468" y="1322"/>
                    <a:pt x="1490" y="1356"/>
                  </a:cubicBezTo>
                  <a:cubicBezTo>
                    <a:pt x="1501" y="1379"/>
                    <a:pt x="1558" y="1356"/>
                    <a:pt x="1602" y="1334"/>
                  </a:cubicBezTo>
                  <a:cubicBezTo>
                    <a:pt x="1647" y="1300"/>
                    <a:pt x="1769" y="1311"/>
                    <a:pt x="1803" y="1311"/>
                  </a:cubicBezTo>
                  <a:cubicBezTo>
                    <a:pt x="1837" y="1311"/>
                    <a:pt x="1837" y="1367"/>
                    <a:pt x="1870" y="1379"/>
                  </a:cubicBezTo>
                  <a:cubicBezTo>
                    <a:pt x="1893" y="1390"/>
                    <a:pt x="1949" y="1356"/>
                    <a:pt x="1971" y="1356"/>
                  </a:cubicBezTo>
                  <a:cubicBezTo>
                    <a:pt x="1982" y="1356"/>
                    <a:pt x="2005" y="1390"/>
                    <a:pt x="2038" y="1423"/>
                  </a:cubicBezTo>
                  <a:cubicBezTo>
                    <a:pt x="2083" y="1457"/>
                    <a:pt x="2095" y="1423"/>
                    <a:pt x="2095" y="1379"/>
                  </a:cubicBezTo>
                  <a:cubicBezTo>
                    <a:pt x="2095" y="1345"/>
                    <a:pt x="2050" y="1334"/>
                    <a:pt x="2016" y="1322"/>
                  </a:cubicBezTo>
                  <a:cubicBezTo>
                    <a:pt x="1982" y="1300"/>
                    <a:pt x="2005" y="1255"/>
                    <a:pt x="1982" y="1233"/>
                  </a:cubicBezTo>
                  <a:cubicBezTo>
                    <a:pt x="1960" y="1210"/>
                    <a:pt x="1993" y="1177"/>
                    <a:pt x="1971" y="1166"/>
                  </a:cubicBezTo>
                  <a:cubicBezTo>
                    <a:pt x="1937" y="1154"/>
                    <a:pt x="1960" y="1110"/>
                    <a:pt x="1982" y="1110"/>
                  </a:cubicBezTo>
                  <a:cubicBezTo>
                    <a:pt x="2005" y="1110"/>
                    <a:pt x="2027" y="1132"/>
                    <a:pt x="2038" y="1110"/>
                  </a:cubicBezTo>
                  <a:cubicBezTo>
                    <a:pt x="2050" y="1098"/>
                    <a:pt x="2072" y="1110"/>
                    <a:pt x="2106" y="1076"/>
                  </a:cubicBezTo>
                  <a:cubicBezTo>
                    <a:pt x="2128" y="1042"/>
                    <a:pt x="2240" y="897"/>
                    <a:pt x="2262" y="885"/>
                  </a:cubicBezTo>
                  <a:cubicBezTo>
                    <a:pt x="2296" y="874"/>
                    <a:pt x="2307" y="829"/>
                    <a:pt x="2285" y="784"/>
                  </a:cubicBezTo>
                  <a:cubicBezTo>
                    <a:pt x="2274" y="740"/>
                    <a:pt x="2330" y="695"/>
                    <a:pt x="2352" y="684"/>
                  </a:cubicBezTo>
                  <a:cubicBezTo>
                    <a:pt x="2386" y="672"/>
                    <a:pt x="2408" y="639"/>
                    <a:pt x="2386" y="605"/>
                  </a:cubicBezTo>
                  <a:cubicBezTo>
                    <a:pt x="2375" y="583"/>
                    <a:pt x="2330" y="560"/>
                    <a:pt x="2319" y="538"/>
                  </a:cubicBezTo>
                  <a:cubicBezTo>
                    <a:pt x="2307" y="504"/>
                    <a:pt x="2352" y="482"/>
                    <a:pt x="2375" y="482"/>
                  </a:cubicBezTo>
                  <a:cubicBezTo>
                    <a:pt x="2397" y="482"/>
                    <a:pt x="2419" y="459"/>
                    <a:pt x="2408" y="437"/>
                  </a:cubicBezTo>
                  <a:cubicBezTo>
                    <a:pt x="2408" y="426"/>
                    <a:pt x="2431" y="392"/>
                    <a:pt x="2442" y="381"/>
                  </a:cubicBezTo>
                  <a:cubicBezTo>
                    <a:pt x="2464" y="370"/>
                    <a:pt x="2464" y="336"/>
                    <a:pt x="2442" y="325"/>
                  </a:cubicBezTo>
                  <a:cubicBezTo>
                    <a:pt x="2408" y="314"/>
                    <a:pt x="2408" y="258"/>
                    <a:pt x="2419" y="258"/>
                  </a:cubicBezTo>
                  <a:cubicBezTo>
                    <a:pt x="2442" y="246"/>
                    <a:pt x="2442" y="235"/>
                    <a:pt x="2419" y="213"/>
                  </a:cubicBezTo>
                  <a:cubicBezTo>
                    <a:pt x="2397" y="202"/>
                    <a:pt x="2386" y="190"/>
                    <a:pt x="2341" y="157"/>
                  </a:cubicBezTo>
                  <a:cubicBezTo>
                    <a:pt x="2307" y="123"/>
                    <a:pt x="2262" y="79"/>
                    <a:pt x="2262" y="112"/>
                  </a:cubicBezTo>
                  <a:cubicBezTo>
                    <a:pt x="2262" y="135"/>
                    <a:pt x="2251" y="157"/>
                    <a:pt x="2251" y="179"/>
                  </a:cubicBezTo>
                  <a:cubicBezTo>
                    <a:pt x="2240" y="190"/>
                    <a:pt x="2240" y="235"/>
                    <a:pt x="2251" y="246"/>
                  </a:cubicBezTo>
                  <a:cubicBezTo>
                    <a:pt x="2262" y="258"/>
                    <a:pt x="2229" y="280"/>
                    <a:pt x="2218" y="291"/>
                  </a:cubicBezTo>
                  <a:cubicBezTo>
                    <a:pt x="2195" y="314"/>
                    <a:pt x="2173" y="336"/>
                    <a:pt x="2151" y="314"/>
                  </a:cubicBezTo>
                  <a:cubicBezTo>
                    <a:pt x="2128" y="303"/>
                    <a:pt x="2061" y="314"/>
                    <a:pt x="2038" y="336"/>
                  </a:cubicBezTo>
                  <a:cubicBezTo>
                    <a:pt x="2016" y="359"/>
                    <a:pt x="1993" y="359"/>
                    <a:pt x="1982" y="336"/>
                  </a:cubicBezTo>
                  <a:cubicBezTo>
                    <a:pt x="1960" y="314"/>
                    <a:pt x="1937" y="336"/>
                    <a:pt x="1915" y="325"/>
                  </a:cubicBezTo>
                  <a:cubicBezTo>
                    <a:pt x="1893" y="314"/>
                    <a:pt x="1882" y="291"/>
                    <a:pt x="1848" y="291"/>
                  </a:cubicBezTo>
                  <a:cubicBezTo>
                    <a:pt x="1814" y="280"/>
                    <a:pt x="1837" y="235"/>
                    <a:pt x="1803" y="213"/>
                  </a:cubicBezTo>
                  <a:cubicBezTo>
                    <a:pt x="1769" y="190"/>
                    <a:pt x="1736" y="213"/>
                    <a:pt x="1713" y="246"/>
                  </a:cubicBezTo>
                  <a:cubicBezTo>
                    <a:pt x="1691" y="269"/>
                    <a:pt x="1658" y="303"/>
                    <a:pt x="1647" y="280"/>
                  </a:cubicBezTo>
                  <a:cubicBezTo>
                    <a:pt x="1625" y="269"/>
                    <a:pt x="1558" y="280"/>
                    <a:pt x="1569" y="258"/>
                  </a:cubicBezTo>
                  <a:cubicBezTo>
                    <a:pt x="1569" y="235"/>
                    <a:pt x="1558" y="213"/>
                    <a:pt x="1546" y="190"/>
                  </a:cubicBezTo>
                  <a:cubicBezTo>
                    <a:pt x="1524" y="179"/>
                    <a:pt x="1569" y="168"/>
                    <a:pt x="1569" y="135"/>
                  </a:cubicBezTo>
                  <a:cubicBezTo>
                    <a:pt x="1580" y="112"/>
                    <a:pt x="1558" y="56"/>
                    <a:pt x="1490" y="56"/>
                  </a:cubicBezTo>
                  <a:cubicBezTo>
                    <a:pt x="1434" y="56"/>
                    <a:pt x="1389" y="101"/>
                    <a:pt x="1378" y="123"/>
                  </a:cubicBezTo>
                  <a:cubicBezTo>
                    <a:pt x="1356" y="146"/>
                    <a:pt x="1289" y="135"/>
                    <a:pt x="1244" y="135"/>
                  </a:cubicBezTo>
                  <a:cubicBezTo>
                    <a:pt x="1199" y="146"/>
                    <a:pt x="1199" y="101"/>
                    <a:pt x="1188" y="56"/>
                  </a:cubicBezTo>
                  <a:cubicBezTo>
                    <a:pt x="1188" y="0"/>
                    <a:pt x="1109" y="11"/>
                    <a:pt x="1109" y="11"/>
                  </a:cubicBezTo>
                  <a:cubicBezTo>
                    <a:pt x="1109" y="22"/>
                    <a:pt x="1076" y="0"/>
                    <a:pt x="1053" y="34"/>
                  </a:cubicBezTo>
                  <a:cubicBezTo>
                    <a:pt x="1020" y="67"/>
                    <a:pt x="1020" y="34"/>
                    <a:pt x="986" y="34"/>
                  </a:cubicBezTo>
                  <a:cubicBezTo>
                    <a:pt x="952" y="34"/>
                    <a:pt x="919" y="45"/>
                    <a:pt x="896" y="45"/>
                  </a:cubicBezTo>
                  <a:cubicBezTo>
                    <a:pt x="863" y="56"/>
                    <a:pt x="840" y="34"/>
                    <a:pt x="829" y="34"/>
                  </a:cubicBezTo>
                  <a:cubicBezTo>
                    <a:pt x="818" y="34"/>
                    <a:pt x="796" y="67"/>
                    <a:pt x="784" y="101"/>
                  </a:cubicBezTo>
                  <a:cubicBezTo>
                    <a:pt x="784" y="123"/>
                    <a:pt x="751" y="90"/>
                    <a:pt x="728" y="123"/>
                  </a:cubicBezTo>
                  <a:cubicBezTo>
                    <a:pt x="706" y="157"/>
                    <a:pt x="672" y="190"/>
                    <a:pt x="638" y="168"/>
                  </a:cubicBezTo>
                  <a:cubicBezTo>
                    <a:pt x="605" y="135"/>
                    <a:pt x="571" y="123"/>
                    <a:pt x="538" y="135"/>
                  </a:cubicBezTo>
                  <a:cubicBezTo>
                    <a:pt x="515" y="146"/>
                    <a:pt x="493" y="157"/>
                    <a:pt x="482" y="213"/>
                  </a:cubicBezTo>
                  <a:cubicBezTo>
                    <a:pt x="470" y="258"/>
                    <a:pt x="425" y="291"/>
                    <a:pt x="459" y="314"/>
                  </a:cubicBezTo>
                  <a:cubicBezTo>
                    <a:pt x="482" y="336"/>
                    <a:pt x="482" y="336"/>
                    <a:pt x="515" y="314"/>
                  </a:cubicBezTo>
                  <a:cubicBezTo>
                    <a:pt x="538" y="291"/>
                    <a:pt x="560" y="291"/>
                    <a:pt x="583" y="314"/>
                  </a:cubicBezTo>
                  <a:cubicBezTo>
                    <a:pt x="605" y="336"/>
                    <a:pt x="627" y="336"/>
                    <a:pt x="650" y="336"/>
                  </a:cubicBezTo>
                  <a:cubicBezTo>
                    <a:pt x="683" y="325"/>
                    <a:pt x="694" y="359"/>
                    <a:pt x="694" y="381"/>
                  </a:cubicBezTo>
                  <a:cubicBezTo>
                    <a:pt x="694" y="403"/>
                    <a:pt x="672" y="403"/>
                    <a:pt x="650" y="403"/>
                  </a:cubicBezTo>
                  <a:cubicBezTo>
                    <a:pt x="627" y="403"/>
                    <a:pt x="627" y="415"/>
                    <a:pt x="616" y="459"/>
                  </a:cubicBezTo>
                  <a:cubicBezTo>
                    <a:pt x="616" y="504"/>
                    <a:pt x="605" y="538"/>
                    <a:pt x="627" y="538"/>
                  </a:cubicBezTo>
                  <a:cubicBezTo>
                    <a:pt x="650" y="538"/>
                    <a:pt x="661" y="572"/>
                    <a:pt x="672" y="605"/>
                  </a:cubicBezTo>
                  <a:cubicBezTo>
                    <a:pt x="683" y="639"/>
                    <a:pt x="694" y="639"/>
                    <a:pt x="717" y="617"/>
                  </a:cubicBezTo>
                  <a:cubicBezTo>
                    <a:pt x="728" y="594"/>
                    <a:pt x="762" y="594"/>
                    <a:pt x="784" y="605"/>
                  </a:cubicBezTo>
                  <a:cubicBezTo>
                    <a:pt x="807" y="617"/>
                    <a:pt x="807" y="650"/>
                    <a:pt x="796" y="695"/>
                  </a:cubicBezTo>
                  <a:cubicBezTo>
                    <a:pt x="784" y="740"/>
                    <a:pt x="751" y="784"/>
                    <a:pt x="739" y="818"/>
                  </a:cubicBezTo>
                  <a:cubicBezTo>
                    <a:pt x="728" y="852"/>
                    <a:pt x="694" y="874"/>
                    <a:pt x="683" y="852"/>
                  </a:cubicBezTo>
                  <a:cubicBezTo>
                    <a:pt x="661" y="829"/>
                    <a:pt x="650" y="818"/>
                    <a:pt x="627" y="841"/>
                  </a:cubicBezTo>
                  <a:cubicBezTo>
                    <a:pt x="616" y="863"/>
                    <a:pt x="605" y="874"/>
                    <a:pt x="571" y="874"/>
                  </a:cubicBezTo>
                  <a:cubicBezTo>
                    <a:pt x="549" y="863"/>
                    <a:pt x="515" y="874"/>
                    <a:pt x="515" y="897"/>
                  </a:cubicBezTo>
                  <a:cubicBezTo>
                    <a:pt x="515" y="919"/>
                    <a:pt x="504" y="953"/>
                    <a:pt x="470" y="964"/>
                  </a:cubicBezTo>
                  <a:cubicBezTo>
                    <a:pt x="448" y="964"/>
                    <a:pt x="437" y="975"/>
                    <a:pt x="437" y="1008"/>
                  </a:cubicBezTo>
                  <a:cubicBezTo>
                    <a:pt x="437" y="1031"/>
                    <a:pt x="392" y="1076"/>
                    <a:pt x="392" y="1053"/>
                  </a:cubicBezTo>
                  <a:cubicBezTo>
                    <a:pt x="392" y="1031"/>
                    <a:pt x="381" y="975"/>
                    <a:pt x="358" y="986"/>
                  </a:cubicBezTo>
                  <a:cubicBezTo>
                    <a:pt x="336" y="986"/>
                    <a:pt x="302" y="964"/>
                    <a:pt x="291" y="986"/>
                  </a:cubicBezTo>
                  <a:cubicBezTo>
                    <a:pt x="280" y="1008"/>
                    <a:pt x="235" y="1020"/>
                    <a:pt x="213" y="1020"/>
                  </a:cubicBezTo>
                  <a:cubicBezTo>
                    <a:pt x="201" y="1008"/>
                    <a:pt x="190" y="1065"/>
                    <a:pt x="157" y="1065"/>
                  </a:cubicBezTo>
                  <a:cubicBezTo>
                    <a:pt x="134" y="1076"/>
                    <a:pt x="45" y="1098"/>
                    <a:pt x="22" y="1143"/>
                  </a:cubicBezTo>
                  <a:cubicBezTo>
                    <a:pt x="0" y="1177"/>
                    <a:pt x="0" y="1210"/>
                    <a:pt x="0" y="1210"/>
                  </a:cubicBezTo>
                  <a:lnTo>
                    <a:pt x="0" y="1210"/>
                  </a:lnTo>
                  <a:cubicBezTo>
                    <a:pt x="0" y="1221"/>
                    <a:pt x="11" y="1233"/>
                    <a:pt x="22" y="1255"/>
                  </a:cubicBezTo>
                  <a:cubicBezTo>
                    <a:pt x="45" y="1289"/>
                    <a:pt x="101" y="1434"/>
                    <a:pt x="134" y="1457"/>
                  </a:cubicBezTo>
                  <a:cubicBezTo>
                    <a:pt x="157" y="1468"/>
                    <a:pt x="269" y="1524"/>
                    <a:pt x="325" y="1535"/>
                  </a:cubicBezTo>
                  <a:cubicBezTo>
                    <a:pt x="392" y="1558"/>
                    <a:pt x="650" y="1625"/>
                    <a:pt x="739" y="1670"/>
                  </a:cubicBezTo>
                  <a:cubicBezTo>
                    <a:pt x="840" y="1715"/>
                    <a:pt x="919" y="1759"/>
                    <a:pt x="963" y="1782"/>
                  </a:cubicBezTo>
                  <a:cubicBezTo>
                    <a:pt x="1020" y="1804"/>
                    <a:pt x="1053" y="1804"/>
                    <a:pt x="1076" y="1771"/>
                  </a:cubicBezTo>
                  <a:cubicBezTo>
                    <a:pt x="1087" y="1771"/>
                    <a:pt x="1087" y="1771"/>
                    <a:pt x="1098" y="1759"/>
                  </a:cubicBezTo>
                  <a:cubicBezTo>
                    <a:pt x="1087" y="1759"/>
                    <a:pt x="1076" y="1748"/>
                    <a:pt x="1065" y="1737"/>
                  </a:cubicBezTo>
                  <a:cubicBezTo>
                    <a:pt x="1042" y="1715"/>
                    <a:pt x="1042" y="1636"/>
                    <a:pt x="1053" y="161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28"/>
            <p:cNvSpPr>
              <a:spLocks noChangeArrowheads="1"/>
            </p:cNvSpPr>
            <p:nvPr/>
          </p:nvSpPr>
          <p:spPr bwMode="auto">
            <a:xfrm>
              <a:off x="6430009" y="4441490"/>
              <a:ext cx="428021" cy="443480"/>
            </a:xfrm>
            <a:custGeom>
              <a:avLst/>
              <a:gdLst>
                <a:gd name="T0" fmla="*/ 78 w 1233"/>
                <a:gd name="T1" fmla="*/ 875 h 1279"/>
                <a:gd name="T2" fmla="*/ 212 w 1233"/>
                <a:gd name="T3" fmla="*/ 919 h 1279"/>
                <a:gd name="T4" fmla="*/ 257 w 1233"/>
                <a:gd name="T5" fmla="*/ 1054 h 1279"/>
                <a:gd name="T6" fmla="*/ 347 w 1233"/>
                <a:gd name="T7" fmla="*/ 1177 h 1279"/>
                <a:gd name="T8" fmla="*/ 470 w 1233"/>
                <a:gd name="T9" fmla="*/ 1088 h 1279"/>
                <a:gd name="T10" fmla="*/ 594 w 1233"/>
                <a:gd name="T11" fmla="*/ 1065 h 1279"/>
                <a:gd name="T12" fmla="*/ 672 w 1233"/>
                <a:gd name="T13" fmla="*/ 1099 h 1279"/>
                <a:gd name="T14" fmla="*/ 829 w 1233"/>
                <a:gd name="T15" fmla="*/ 1177 h 1279"/>
                <a:gd name="T16" fmla="*/ 851 w 1233"/>
                <a:gd name="T17" fmla="*/ 1267 h 1279"/>
                <a:gd name="T18" fmla="*/ 974 w 1233"/>
                <a:gd name="T19" fmla="*/ 1244 h 1279"/>
                <a:gd name="T20" fmla="*/ 1087 w 1233"/>
                <a:gd name="T21" fmla="*/ 1177 h 1279"/>
                <a:gd name="T22" fmla="*/ 1120 w 1233"/>
                <a:gd name="T23" fmla="*/ 986 h 1279"/>
                <a:gd name="T24" fmla="*/ 1098 w 1233"/>
                <a:gd name="T25" fmla="*/ 819 h 1279"/>
                <a:gd name="T26" fmla="*/ 1087 w 1233"/>
                <a:gd name="T27" fmla="*/ 774 h 1279"/>
                <a:gd name="T28" fmla="*/ 1199 w 1233"/>
                <a:gd name="T29" fmla="*/ 650 h 1279"/>
                <a:gd name="T30" fmla="*/ 1176 w 1233"/>
                <a:gd name="T31" fmla="*/ 550 h 1279"/>
                <a:gd name="T32" fmla="*/ 1008 w 1233"/>
                <a:gd name="T33" fmla="*/ 673 h 1279"/>
                <a:gd name="T34" fmla="*/ 863 w 1233"/>
                <a:gd name="T35" fmla="*/ 717 h 1279"/>
                <a:gd name="T36" fmla="*/ 918 w 1233"/>
                <a:gd name="T37" fmla="*/ 516 h 1279"/>
                <a:gd name="T38" fmla="*/ 930 w 1233"/>
                <a:gd name="T39" fmla="*/ 426 h 1279"/>
                <a:gd name="T40" fmla="*/ 1042 w 1233"/>
                <a:gd name="T41" fmla="*/ 449 h 1279"/>
                <a:gd name="T42" fmla="*/ 1120 w 1233"/>
                <a:gd name="T43" fmla="*/ 269 h 1279"/>
                <a:gd name="T44" fmla="*/ 986 w 1233"/>
                <a:gd name="T45" fmla="*/ 168 h 1279"/>
                <a:gd name="T46" fmla="*/ 907 w 1233"/>
                <a:gd name="T47" fmla="*/ 23 h 1279"/>
                <a:gd name="T48" fmla="*/ 762 w 1233"/>
                <a:gd name="T49" fmla="*/ 45 h 1279"/>
                <a:gd name="T50" fmla="*/ 762 w 1233"/>
                <a:gd name="T51" fmla="*/ 157 h 1279"/>
                <a:gd name="T52" fmla="*/ 594 w 1233"/>
                <a:gd name="T53" fmla="*/ 101 h 1279"/>
                <a:gd name="T54" fmla="*/ 515 w 1233"/>
                <a:gd name="T55" fmla="*/ 90 h 1279"/>
                <a:gd name="T56" fmla="*/ 448 w 1233"/>
                <a:gd name="T57" fmla="*/ 191 h 1279"/>
                <a:gd name="T58" fmla="*/ 313 w 1233"/>
                <a:gd name="T59" fmla="*/ 202 h 1279"/>
                <a:gd name="T60" fmla="*/ 302 w 1233"/>
                <a:gd name="T61" fmla="*/ 337 h 1279"/>
                <a:gd name="T62" fmla="*/ 224 w 1233"/>
                <a:gd name="T63" fmla="*/ 426 h 1279"/>
                <a:gd name="T64" fmla="*/ 123 w 1233"/>
                <a:gd name="T65" fmla="*/ 594 h 1279"/>
                <a:gd name="T66" fmla="*/ 11 w 1233"/>
                <a:gd name="T67" fmla="*/ 650 h 1279"/>
                <a:gd name="T68" fmla="*/ 78 w 1233"/>
                <a:gd name="T69" fmla="*/ 87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33" h="1279">
                  <a:moveTo>
                    <a:pt x="78" y="875"/>
                  </a:moveTo>
                  <a:lnTo>
                    <a:pt x="78" y="875"/>
                  </a:lnTo>
                  <a:cubicBezTo>
                    <a:pt x="100" y="875"/>
                    <a:pt x="89" y="908"/>
                    <a:pt x="134" y="886"/>
                  </a:cubicBezTo>
                  <a:cubicBezTo>
                    <a:pt x="179" y="875"/>
                    <a:pt x="201" y="886"/>
                    <a:pt x="212" y="919"/>
                  </a:cubicBezTo>
                  <a:cubicBezTo>
                    <a:pt x="224" y="953"/>
                    <a:pt x="235" y="1009"/>
                    <a:pt x="257" y="1009"/>
                  </a:cubicBezTo>
                  <a:cubicBezTo>
                    <a:pt x="280" y="1009"/>
                    <a:pt x="269" y="1031"/>
                    <a:pt x="257" y="1054"/>
                  </a:cubicBezTo>
                  <a:cubicBezTo>
                    <a:pt x="235" y="1065"/>
                    <a:pt x="280" y="1088"/>
                    <a:pt x="302" y="1121"/>
                  </a:cubicBezTo>
                  <a:cubicBezTo>
                    <a:pt x="313" y="1155"/>
                    <a:pt x="325" y="1199"/>
                    <a:pt x="347" y="1177"/>
                  </a:cubicBezTo>
                  <a:cubicBezTo>
                    <a:pt x="358" y="1155"/>
                    <a:pt x="403" y="1121"/>
                    <a:pt x="425" y="1132"/>
                  </a:cubicBezTo>
                  <a:cubicBezTo>
                    <a:pt x="459" y="1143"/>
                    <a:pt x="470" y="1121"/>
                    <a:pt x="470" y="1088"/>
                  </a:cubicBezTo>
                  <a:cubicBezTo>
                    <a:pt x="481" y="1054"/>
                    <a:pt x="493" y="1009"/>
                    <a:pt x="538" y="1009"/>
                  </a:cubicBezTo>
                  <a:cubicBezTo>
                    <a:pt x="582" y="1009"/>
                    <a:pt x="627" y="1043"/>
                    <a:pt x="594" y="1065"/>
                  </a:cubicBezTo>
                  <a:cubicBezTo>
                    <a:pt x="560" y="1088"/>
                    <a:pt x="549" y="1132"/>
                    <a:pt x="571" y="1143"/>
                  </a:cubicBezTo>
                  <a:cubicBezTo>
                    <a:pt x="594" y="1155"/>
                    <a:pt x="627" y="1099"/>
                    <a:pt x="672" y="1099"/>
                  </a:cubicBezTo>
                  <a:cubicBezTo>
                    <a:pt x="717" y="1088"/>
                    <a:pt x="784" y="1076"/>
                    <a:pt x="807" y="1099"/>
                  </a:cubicBezTo>
                  <a:cubicBezTo>
                    <a:pt x="829" y="1121"/>
                    <a:pt x="863" y="1177"/>
                    <a:pt x="829" y="1177"/>
                  </a:cubicBezTo>
                  <a:cubicBezTo>
                    <a:pt x="807" y="1188"/>
                    <a:pt x="762" y="1233"/>
                    <a:pt x="795" y="1222"/>
                  </a:cubicBezTo>
                  <a:cubicBezTo>
                    <a:pt x="829" y="1222"/>
                    <a:pt x="851" y="1255"/>
                    <a:pt x="851" y="1267"/>
                  </a:cubicBezTo>
                  <a:cubicBezTo>
                    <a:pt x="874" y="1267"/>
                    <a:pt x="896" y="1278"/>
                    <a:pt x="907" y="1267"/>
                  </a:cubicBezTo>
                  <a:cubicBezTo>
                    <a:pt x="930" y="1255"/>
                    <a:pt x="952" y="1233"/>
                    <a:pt x="974" y="1244"/>
                  </a:cubicBezTo>
                  <a:cubicBezTo>
                    <a:pt x="997" y="1255"/>
                    <a:pt x="1019" y="1233"/>
                    <a:pt x="1031" y="1211"/>
                  </a:cubicBezTo>
                  <a:cubicBezTo>
                    <a:pt x="1042" y="1188"/>
                    <a:pt x="1064" y="1177"/>
                    <a:pt x="1087" y="1177"/>
                  </a:cubicBezTo>
                  <a:cubicBezTo>
                    <a:pt x="1076" y="1155"/>
                    <a:pt x="1064" y="1110"/>
                    <a:pt x="1053" y="1099"/>
                  </a:cubicBezTo>
                  <a:cubicBezTo>
                    <a:pt x="1031" y="1065"/>
                    <a:pt x="1076" y="1020"/>
                    <a:pt x="1120" y="986"/>
                  </a:cubicBezTo>
                  <a:cubicBezTo>
                    <a:pt x="1154" y="942"/>
                    <a:pt x="1165" y="875"/>
                    <a:pt x="1154" y="863"/>
                  </a:cubicBezTo>
                  <a:cubicBezTo>
                    <a:pt x="1154" y="852"/>
                    <a:pt x="1120" y="807"/>
                    <a:pt x="1098" y="819"/>
                  </a:cubicBezTo>
                  <a:cubicBezTo>
                    <a:pt x="1076" y="830"/>
                    <a:pt x="1031" y="841"/>
                    <a:pt x="1019" y="819"/>
                  </a:cubicBezTo>
                  <a:cubicBezTo>
                    <a:pt x="1008" y="785"/>
                    <a:pt x="1053" y="762"/>
                    <a:pt x="1087" y="774"/>
                  </a:cubicBezTo>
                  <a:cubicBezTo>
                    <a:pt x="1120" y="774"/>
                    <a:pt x="1131" y="762"/>
                    <a:pt x="1143" y="729"/>
                  </a:cubicBezTo>
                  <a:cubicBezTo>
                    <a:pt x="1165" y="684"/>
                    <a:pt x="1176" y="662"/>
                    <a:pt x="1199" y="650"/>
                  </a:cubicBezTo>
                  <a:cubicBezTo>
                    <a:pt x="1221" y="650"/>
                    <a:pt x="1232" y="617"/>
                    <a:pt x="1232" y="594"/>
                  </a:cubicBezTo>
                  <a:cubicBezTo>
                    <a:pt x="1221" y="583"/>
                    <a:pt x="1199" y="561"/>
                    <a:pt x="1176" y="550"/>
                  </a:cubicBezTo>
                  <a:cubicBezTo>
                    <a:pt x="1154" y="538"/>
                    <a:pt x="1143" y="572"/>
                    <a:pt x="1109" y="606"/>
                  </a:cubicBezTo>
                  <a:cubicBezTo>
                    <a:pt x="1087" y="639"/>
                    <a:pt x="1042" y="673"/>
                    <a:pt x="1008" y="673"/>
                  </a:cubicBezTo>
                  <a:cubicBezTo>
                    <a:pt x="974" y="684"/>
                    <a:pt x="963" y="706"/>
                    <a:pt x="941" y="740"/>
                  </a:cubicBezTo>
                  <a:cubicBezTo>
                    <a:pt x="918" y="762"/>
                    <a:pt x="874" y="762"/>
                    <a:pt x="863" y="717"/>
                  </a:cubicBezTo>
                  <a:cubicBezTo>
                    <a:pt x="851" y="684"/>
                    <a:pt x="818" y="606"/>
                    <a:pt x="863" y="594"/>
                  </a:cubicBezTo>
                  <a:cubicBezTo>
                    <a:pt x="907" y="583"/>
                    <a:pt x="941" y="527"/>
                    <a:pt x="918" y="516"/>
                  </a:cubicBezTo>
                  <a:cubicBezTo>
                    <a:pt x="896" y="505"/>
                    <a:pt x="829" y="482"/>
                    <a:pt x="874" y="460"/>
                  </a:cubicBezTo>
                  <a:cubicBezTo>
                    <a:pt x="907" y="437"/>
                    <a:pt x="918" y="482"/>
                    <a:pt x="930" y="426"/>
                  </a:cubicBezTo>
                  <a:cubicBezTo>
                    <a:pt x="941" y="370"/>
                    <a:pt x="1008" y="370"/>
                    <a:pt x="1008" y="404"/>
                  </a:cubicBezTo>
                  <a:cubicBezTo>
                    <a:pt x="1008" y="449"/>
                    <a:pt x="1019" y="482"/>
                    <a:pt x="1042" y="449"/>
                  </a:cubicBezTo>
                  <a:cubicBezTo>
                    <a:pt x="1064" y="426"/>
                    <a:pt x="1064" y="393"/>
                    <a:pt x="1076" y="359"/>
                  </a:cubicBezTo>
                  <a:cubicBezTo>
                    <a:pt x="1076" y="326"/>
                    <a:pt x="1109" y="314"/>
                    <a:pt x="1120" y="269"/>
                  </a:cubicBezTo>
                  <a:cubicBezTo>
                    <a:pt x="1131" y="236"/>
                    <a:pt x="1109" y="191"/>
                    <a:pt x="1087" y="168"/>
                  </a:cubicBezTo>
                  <a:cubicBezTo>
                    <a:pt x="1064" y="146"/>
                    <a:pt x="1042" y="168"/>
                    <a:pt x="986" y="168"/>
                  </a:cubicBezTo>
                  <a:cubicBezTo>
                    <a:pt x="941" y="168"/>
                    <a:pt x="907" y="146"/>
                    <a:pt x="907" y="112"/>
                  </a:cubicBezTo>
                  <a:cubicBezTo>
                    <a:pt x="907" y="79"/>
                    <a:pt x="907" y="23"/>
                    <a:pt x="907" y="23"/>
                  </a:cubicBezTo>
                  <a:cubicBezTo>
                    <a:pt x="885" y="0"/>
                    <a:pt x="885" y="0"/>
                    <a:pt x="885" y="0"/>
                  </a:cubicBezTo>
                  <a:cubicBezTo>
                    <a:pt x="885" y="0"/>
                    <a:pt x="795" y="34"/>
                    <a:pt x="762" y="45"/>
                  </a:cubicBezTo>
                  <a:cubicBezTo>
                    <a:pt x="739" y="45"/>
                    <a:pt x="773" y="90"/>
                    <a:pt x="795" y="101"/>
                  </a:cubicBezTo>
                  <a:cubicBezTo>
                    <a:pt x="829" y="101"/>
                    <a:pt x="807" y="135"/>
                    <a:pt x="762" y="157"/>
                  </a:cubicBezTo>
                  <a:cubicBezTo>
                    <a:pt x="728" y="180"/>
                    <a:pt x="705" y="157"/>
                    <a:pt x="661" y="157"/>
                  </a:cubicBezTo>
                  <a:cubicBezTo>
                    <a:pt x="616" y="157"/>
                    <a:pt x="616" y="135"/>
                    <a:pt x="594" y="101"/>
                  </a:cubicBezTo>
                  <a:cubicBezTo>
                    <a:pt x="582" y="56"/>
                    <a:pt x="538" y="56"/>
                    <a:pt x="526" y="90"/>
                  </a:cubicBezTo>
                  <a:cubicBezTo>
                    <a:pt x="515" y="90"/>
                    <a:pt x="515" y="90"/>
                    <a:pt x="515" y="90"/>
                  </a:cubicBezTo>
                  <a:cubicBezTo>
                    <a:pt x="515" y="112"/>
                    <a:pt x="526" y="157"/>
                    <a:pt x="515" y="168"/>
                  </a:cubicBezTo>
                  <a:cubicBezTo>
                    <a:pt x="504" y="191"/>
                    <a:pt x="481" y="191"/>
                    <a:pt x="448" y="191"/>
                  </a:cubicBezTo>
                  <a:cubicBezTo>
                    <a:pt x="425" y="191"/>
                    <a:pt x="425" y="224"/>
                    <a:pt x="403" y="224"/>
                  </a:cubicBezTo>
                  <a:cubicBezTo>
                    <a:pt x="381" y="236"/>
                    <a:pt x="336" y="202"/>
                    <a:pt x="313" y="202"/>
                  </a:cubicBezTo>
                  <a:cubicBezTo>
                    <a:pt x="280" y="213"/>
                    <a:pt x="269" y="258"/>
                    <a:pt x="291" y="269"/>
                  </a:cubicBezTo>
                  <a:cubicBezTo>
                    <a:pt x="313" y="281"/>
                    <a:pt x="325" y="326"/>
                    <a:pt x="302" y="337"/>
                  </a:cubicBezTo>
                  <a:cubicBezTo>
                    <a:pt x="280" y="348"/>
                    <a:pt x="302" y="393"/>
                    <a:pt x="269" y="381"/>
                  </a:cubicBezTo>
                  <a:cubicBezTo>
                    <a:pt x="235" y="381"/>
                    <a:pt x="201" y="381"/>
                    <a:pt x="224" y="426"/>
                  </a:cubicBezTo>
                  <a:cubicBezTo>
                    <a:pt x="235" y="482"/>
                    <a:pt x="235" y="527"/>
                    <a:pt x="212" y="538"/>
                  </a:cubicBezTo>
                  <a:cubicBezTo>
                    <a:pt x="201" y="550"/>
                    <a:pt x="168" y="583"/>
                    <a:pt x="123" y="594"/>
                  </a:cubicBezTo>
                  <a:cubicBezTo>
                    <a:pt x="78" y="617"/>
                    <a:pt x="67" y="639"/>
                    <a:pt x="33" y="639"/>
                  </a:cubicBezTo>
                  <a:cubicBezTo>
                    <a:pt x="11" y="628"/>
                    <a:pt x="11" y="650"/>
                    <a:pt x="11" y="650"/>
                  </a:cubicBezTo>
                  <a:cubicBezTo>
                    <a:pt x="0" y="807"/>
                    <a:pt x="0" y="807"/>
                    <a:pt x="0" y="807"/>
                  </a:cubicBezTo>
                  <a:cubicBezTo>
                    <a:pt x="33" y="830"/>
                    <a:pt x="56" y="875"/>
                    <a:pt x="78" y="87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29"/>
            <p:cNvSpPr>
              <a:spLocks noChangeArrowheads="1"/>
            </p:cNvSpPr>
            <p:nvPr/>
          </p:nvSpPr>
          <p:spPr bwMode="auto">
            <a:xfrm>
              <a:off x="6251157" y="4716754"/>
              <a:ext cx="478467" cy="486299"/>
            </a:xfrm>
            <a:custGeom>
              <a:avLst/>
              <a:gdLst>
                <a:gd name="T0" fmla="*/ 1356 w 1380"/>
                <a:gd name="T1" fmla="*/ 471 h 1402"/>
                <a:gd name="T2" fmla="*/ 1311 w 1380"/>
                <a:gd name="T3" fmla="*/ 426 h 1402"/>
                <a:gd name="T4" fmla="*/ 1323 w 1380"/>
                <a:gd name="T5" fmla="*/ 303 h 1402"/>
                <a:gd name="T6" fmla="*/ 1087 w 1380"/>
                <a:gd name="T7" fmla="*/ 347 h 1402"/>
                <a:gd name="T8" fmla="*/ 1054 w 1380"/>
                <a:gd name="T9" fmla="*/ 213 h 1402"/>
                <a:gd name="T10" fmla="*/ 941 w 1380"/>
                <a:gd name="T11" fmla="*/ 336 h 1402"/>
                <a:gd name="T12" fmla="*/ 818 w 1380"/>
                <a:gd name="T13" fmla="*/ 325 h 1402"/>
                <a:gd name="T14" fmla="*/ 773 w 1380"/>
                <a:gd name="T15" fmla="*/ 213 h 1402"/>
                <a:gd name="T16" fmla="*/ 650 w 1380"/>
                <a:gd name="T17" fmla="*/ 90 h 1402"/>
                <a:gd name="T18" fmla="*/ 504 w 1380"/>
                <a:gd name="T19" fmla="*/ 11 h 1402"/>
                <a:gd name="T20" fmla="*/ 437 w 1380"/>
                <a:gd name="T21" fmla="*/ 146 h 1402"/>
                <a:gd name="T22" fmla="*/ 347 w 1380"/>
                <a:gd name="T23" fmla="*/ 202 h 1402"/>
                <a:gd name="T24" fmla="*/ 370 w 1380"/>
                <a:gd name="T25" fmla="*/ 325 h 1402"/>
                <a:gd name="T26" fmla="*/ 303 w 1380"/>
                <a:gd name="T27" fmla="*/ 426 h 1402"/>
                <a:gd name="T28" fmla="*/ 314 w 1380"/>
                <a:gd name="T29" fmla="*/ 549 h 1402"/>
                <a:gd name="T30" fmla="*/ 213 w 1380"/>
                <a:gd name="T31" fmla="*/ 728 h 1402"/>
                <a:gd name="T32" fmla="*/ 34 w 1380"/>
                <a:gd name="T33" fmla="*/ 1020 h 1402"/>
                <a:gd name="T34" fmla="*/ 56 w 1380"/>
                <a:gd name="T35" fmla="*/ 1065 h 1402"/>
                <a:gd name="T36" fmla="*/ 123 w 1380"/>
                <a:gd name="T37" fmla="*/ 1132 h 1402"/>
                <a:gd name="T38" fmla="*/ 168 w 1380"/>
                <a:gd name="T39" fmla="*/ 1255 h 1402"/>
                <a:gd name="T40" fmla="*/ 213 w 1380"/>
                <a:gd name="T41" fmla="*/ 1367 h 1402"/>
                <a:gd name="T42" fmla="*/ 303 w 1380"/>
                <a:gd name="T43" fmla="*/ 1345 h 1402"/>
                <a:gd name="T44" fmla="*/ 359 w 1380"/>
                <a:gd name="T45" fmla="*/ 1278 h 1402"/>
                <a:gd name="T46" fmla="*/ 415 w 1380"/>
                <a:gd name="T47" fmla="*/ 1221 h 1402"/>
                <a:gd name="T48" fmla="*/ 538 w 1380"/>
                <a:gd name="T49" fmla="*/ 1199 h 1402"/>
                <a:gd name="T50" fmla="*/ 616 w 1380"/>
                <a:gd name="T51" fmla="*/ 1132 h 1402"/>
                <a:gd name="T52" fmla="*/ 695 w 1380"/>
                <a:gd name="T53" fmla="*/ 1065 h 1402"/>
                <a:gd name="T54" fmla="*/ 785 w 1380"/>
                <a:gd name="T55" fmla="*/ 1143 h 1402"/>
                <a:gd name="T56" fmla="*/ 863 w 1380"/>
                <a:gd name="T57" fmla="*/ 986 h 1402"/>
                <a:gd name="T58" fmla="*/ 897 w 1380"/>
                <a:gd name="T59" fmla="*/ 852 h 1402"/>
                <a:gd name="T60" fmla="*/ 841 w 1380"/>
                <a:gd name="T61" fmla="*/ 695 h 1402"/>
                <a:gd name="T62" fmla="*/ 941 w 1380"/>
                <a:gd name="T63" fmla="*/ 572 h 1402"/>
                <a:gd name="T64" fmla="*/ 986 w 1380"/>
                <a:gd name="T65" fmla="*/ 471 h 1402"/>
                <a:gd name="T66" fmla="*/ 1031 w 1380"/>
                <a:gd name="T67" fmla="*/ 549 h 1402"/>
                <a:gd name="T68" fmla="*/ 1121 w 1380"/>
                <a:gd name="T69" fmla="*/ 661 h 1402"/>
                <a:gd name="T70" fmla="*/ 1143 w 1380"/>
                <a:gd name="T71" fmla="*/ 773 h 1402"/>
                <a:gd name="T72" fmla="*/ 1188 w 1380"/>
                <a:gd name="T73" fmla="*/ 874 h 1402"/>
                <a:gd name="T74" fmla="*/ 1345 w 1380"/>
                <a:gd name="T75" fmla="*/ 908 h 1402"/>
                <a:gd name="T76" fmla="*/ 1345 w 1380"/>
                <a:gd name="T77" fmla="*/ 762 h 1402"/>
                <a:gd name="T78" fmla="*/ 1323 w 1380"/>
                <a:gd name="T79" fmla="*/ 594 h 1402"/>
                <a:gd name="T80" fmla="*/ 1334 w 1380"/>
                <a:gd name="T81" fmla="*/ 572 h 1402"/>
                <a:gd name="T82" fmla="*/ 1356 w 1380"/>
                <a:gd name="T83" fmla="*/ 471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80" h="1402">
                  <a:moveTo>
                    <a:pt x="1356" y="471"/>
                  </a:moveTo>
                  <a:lnTo>
                    <a:pt x="1356" y="471"/>
                  </a:lnTo>
                  <a:lnTo>
                    <a:pt x="1367" y="471"/>
                  </a:lnTo>
                  <a:cubicBezTo>
                    <a:pt x="1367" y="459"/>
                    <a:pt x="1345" y="426"/>
                    <a:pt x="1311" y="426"/>
                  </a:cubicBezTo>
                  <a:cubicBezTo>
                    <a:pt x="1278" y="437"/>
                    <a:pt x="1323" y="392"/>
                    <a:pt x="1345" y="381"/>
                  </a:cubicBezTo>
                  <a:cubicBezTo>
                    <a:pt x="1379" y="381"/>
                    <a:pt x="1345" y="325"/>
                    <a:pt x="1323" y="303"/>
                  </a:cubicBezTo>
                  <a:cubicBezTo>
                    <a:pt x="1300" y="280"/>
                    <a:pt x="1233" y="292"/>
                    <a:pt x="1188" y="303"/>
                  </a:cubicBezTo>
                  <a:cubicBezTo>
                    <a:pt x="1143" y="303"/>
                    <a:pt x="1110" y="359"/>
                    <a:pt x="1087" y="347"/>
                  </a:cubicBezTo>
                  <a:cubicBezTo>
                    <a:pt x="1065" y="336"/>
                    <a:pt x="1076" y="292"/>
                    <a:pt x="1110" y="269"/>
                  </a:cubicBezTo>
                  <a:cubicBezTo>
                    <a:pt x="1143" y="247"/>
                    <a:pt x="1098" y="213"/>
                    <a:pt x="1054" y="213"/>
                  </a:cubicBezTo>
                  <a:cubicBezTo>
                    <a:pt x="1009" y="213"/>
                    <a:pt x="997" y="258"/>
                    <a:pt x="986" y="292"/>
                  </a:cubicBezTo>
                  <a:cubicBezTo>
                    <a:pt x="986" y="325"/>
                    <a:pt x="975" y="347"/>
                    <a:pt x="941" y="336"/>
                  </a:cubicBezTo>
                  <a:cubicBezTo>
                    <a:pt x="919" y="325"/>
                    <a:pt x="874" y="359"/>
                    <a:pt x="863" y="381"/>
                  </a:cubicBezTo>
                  <a:cubicBezTo>
                    <a:pt x="841" y="403"/>
                    <a:pt x="829" y="359"/>
                    <a:pt x="818" y="325"/>
                  </a:cubicBezTo>
                  <a:cubicBezTo>
                    <a:pt x="796" y="292"/>
                    <a:pt x="751" y="269"/>
                    <a:pt x="773" y="258"/>
                  </a:cubicBezTo>
                  <a:cubicBezTo>
                    <a:pt x="785" y="235"/>
                    <a:pt x="796" y="213"/>
                    <a:pt x="773" y="213"/>
                  </a:cubicBezTo>
                  <a:cubicBezTo>
                    <a:pt x="751" y="213"/>
                    <a:pt x="740" y="157"/>
                    <a:pt x="728" y="123"/>
                  </a:cubicBezTo>
                  <a:cubicBezTo>
                    <a:pt x="717" y="90"/>
                    <a:pt x="695" y="79"/>
                    <a:pt x="650" y="90"/>
                  </a:cubicBezTo>
                  <a:cubicBezTo>
                    <a:pt x="605" y="112"/>
                    <a:pt x="616" y="79"/>
                    <a:pt x="594" y="79"/>
                  </a:cubicBezTo>
                  <a:cubicBezTo>
                    <a:pt x="572" y="79"/>
                    <a:pt x="549" y="23"/>
                    <a:pt x="504" y="11"/>
                  </a:cubicBezTo>
                  <a:cubicBezTo>
                    <a:pt x="459" y="0"/>
                    <a:pt x="437" y="56"/>
                    <a:pt x="437" y="79"/>
                  </a:cubicBezTo>
                  <a:cubicBezTo>
                    <a:pt x="448" y="101"/>
                    <a:pt x="448" y="123"/>
                    <a:pt x="437" y="146"/>
                  </a:cubicBezTo>
                  <a:cubicBezTo>
                    <a:pt x="426" y="179"/>
                    <a:pt x="359" y="179"/>
                    <a:pt x="359" y="179"/>
                  </a:cubicBezTo>
                  <a:cubicBezTo>
                    <a:pt x="370" y="190"/>
                    <a:pt x="359" y="190"/>
                    <a:pt x="347" y="202"/>
                  </a:cubicBezTo>
                  <a:cubicBezTo>
                    <a:pt x="336" y="202"/>
                    <a:pt x="336" y="258"/>
                    <a:pt x="370" y="269"/>
                  </a:cubicBezTo>
                  <a:cubicBezTo>
                    <a:pt x="392" y="280"/>
                    <a:pt x="392" y="314"/>
                    <a:pt x="370" y="325"/>
                  </a:cubicBezTo>
                  <a:cubicBezTo>
                    <a:pt x="359" y="336"/>
                    <a:pt x="336" y="370"/>
                    <a:pt x="336" y="381"/>
                  </a:cubicBezTo>
                  <a:cubicBezTo>
                    <a:pt x="347" y="403"/>
                    <a:pt x="325" y="426"/>
                    <a:pt x="303" y="426"/>
                  </a:cubicBezTo>
                  <a:cubicBezTo>
                    <a:pt x="280" y="426"/>
                    <a:pt x="235" y="448"/>
                    <a:pt x="247" y="482"/>
                  </a:cubicBezTo>
                  <a:cubicBezTo>
                    <a:pt x="258" y="504"/>
                    <a:pt x="303" y="527"/>
                    <a:pt x="314" y="549"/>
                  </a:cubicBezTo>
                  <a:cubicBezTo>
                    <a:pt x="336" y="583"/>
                    <a:pt x="314" y="616"/>
                    <a:pt x="280" y="628"/>
                  </a:cubicBezTo>
                  <a:cubicBezTo>
                    <a:pt x="258" y="639"/>
                    <a:pt x="202" y="684"/>
                    <a:pt x="213" y="728"/>
                  </a:cubicBezTo>
                  <a:cubicBezTo>
                    <a:pt x="235" y="773"/>
                    <a:pt x="224" y="818"/>
                    <a:pt x="190" y="829"/>
                  </a:cubicBezTo>
                  <a:cubicBezTo>
                    <a:pt x="168" y="841"/>
                    <a:pt x="56" y="986"/>
                    <a:pt x="34" y="1020"/>
                  </a:cubicBezTo>
                  <a:cubicBezTo>
                    <a:pt x="23" y="1031"/>
                    <a:pt x="11" y="1031"/>
                    <a:pt x="0" y="1042"/>
                  </a:cubicBezTo>
                  <a:cubicBezTo>
                    <a:pt x="23" y="1054"/>
                    <a:pt x="34" y="1076"/>
                    <a:pt x="56" y="1065"/>
                  </a:cubicBezTo>
                  <a:cubicBezTo>
                    <a:pt x="79" y="1065"/>
                    <a:pt x="79" y="1098"/>
                    <a:pt x="101" y="1098"/>
                  </a:cubicBezTo>
                  <a:cubicBezTo>
                    <a:pt x="123" y="1098"/>
                    <a:pt x="134" y="1121"/>
                    <a:pt x="123" y="1132"/>
                  </a:cubicBezTo>
                  <a:cubicBezTo>
                    <a:pt x="101" y="1143"/>
                    <a:pt x="90" y="1210"/>
                    <a:pt x="123" y="1210"/>
                  </a:cubicBezTo>
                  <a:cubicBezTo>
                    <a:pt x="157" y="1210"/>
                    <a:pt x="190" y="1233"/>
                    <a:pt x="168" y="1255"/>
                  </a:cubicBezTo>
                  <a:cubicBezTo>
                    <a:pt x="146" y="1266"/>
                    <a:pt x="146" y="1289"/>
                    <a:pt x="168" y="1300"/>
                  </a:cubicBezTo>
                  <a:cubicBezTo>
                    <a:pt x="190" y="1311"/>
                    <a:pt x="202" y="1345"/>
                    <a:pt x="213" y="1367"/>
                  </a:cubicBezTo>
                  <a:cubicBezTo>
                    <a:pt x="224" y="1401"/>
                    <a:pt x="247" y="1401"/>
                    <a:pt x="258" y="1378"/>
                  </a:cubicBezTo>
                  <a:cubicBezTo>
                    <a:pt x="269" y="1356"/>
                    <a:pt x="280" y="1345"/>
                    <a:pt x="303" y="1345"/>
                  </a:cubicBezTo>
                  <a:cubicBezTo>
                    <a:pt x="325" y="1345"/>
                    <a:pt x="336" y="1334"/>
                    <a:pt x="336" y="1323"/>
                  </a:cubicBezTo>
                  <a:cubicBezTo>
                    <a:pt x="325" y="1300"/>
                    <a:pt x="336" y="1266"/>
                    <a:pt x="359" y="1278"/>
                  </a:cubicBezTo>
                  <a:cubicBezTo>
                    <a:pt x="370" y="1278"/>
                    <a:pt x="392" y="1255"/>
                    <a:pt x="392" y="1233"/>
                  </a:cubicBezTo>
                  <a:cubicBezTo>
                    <a:pt x="392" y="1210"/>
                    <a:pt x="403" y="1199"/>
                    <a:pt x="415" y="1221"/>
                  </a:cubicBezTo>
                  <a:cubicBezTo>
                    <a:pt x="437" y="1244"/>
                    <a:pt x="448" y="1244"/>
                    <a:pt x="459" y="1221"/>
                  </a:cubicBezTo>
                  <a:cubicBezTo>
                    <a:pt x="471" y="1199"/>
                    <a:pt x="516" y="1199"/>
                    <a:pt x="538" y="1199"/>
                  </a:cubicBezTo>
                  <a:cubicBezTo>
                    <a:pt x="549" y="1199"/>
                    <a:pt x="594" y="1199"/>
                    <a:pt x="594" y="1177"/>
                  </a:cubicBezTo>
                  <a:cubicBezTo>
                    <a:pt x="605" y="1154"/>
                    <a:pt x="594" y="1132"/>
                    <a:pt x="616" y="1132"/>
                  </a:cubicBezTo>
                  <a:cubicBezTo>
                    <a:pt x="650" y="1132"/>
                    <a:pt x="661" y="1121"/>
                    <a:pt x="661" y="1087"/>
                  </a:cubicBezTo>
                  <a:cubicBezTo>
                    <a:pt x="650" y="1065"/>
                    <a:pt x="684" y="1054"/>
                    <a:pt x="695" y="1065"/>
                  </a:cubicBezTo>
                  <a:cubicBezTo>
                    <a:pt x="706" y="1087"/>
                    <a:pt x="740" y="1121"/>
                    <a:pt x="751" y="1121"/>
                  </a:cubicBezTo>
                  <a:cubicBezTo>
                    <a:pt x="762" y="1121"/>
                    <a:pt x="773" y="1132"/>
                    <a:pt x="785" y="1143"/>
                  </a:cubicBezTo>
                  <a:cubicBezTo>
                    <a:pt x="785" y="1110"/>
                    <a:pt x="785" y="1065"/>
                    <a:pt x="785" y="1042"/>
                  </a:cubicBezTo>
                  <a:cubicBezTo>
                    <a:pt x="785" y="1020"/>
                    <a:pt x="841" y="975"/>
                    <a:pt x="863" y="986"/>
                  </a:cubicBezTo>
                  <a:cubicBezTo>
                    <a:pt x="885" y="997"/>
                    <a:pt x="897" y="986"/>
                    <a:pt x="897" y="964"/>
                  </a:cubicBezTo>
                  <a:cubicBezTo>
                    <a:pt x="897" y="952"/>
                    <a:pt x="897" y="852"/>
                    <a:pt x="897" y="852"/>
                  </a:cubicBezTo>
                  <a:cubicBezTo>
                    <a:pt x="897" y="852"/>
                    <a:pt x="897" y="785"/>
                    <a:pt x="863" y="762"/>
                  </a:cubicBezTo>
                  <a:cubicBezTo>
                    <a:pt x="829" y="728"/>
                    <a:pt x="829" y="717"/>
                    <a:pt x="841" y="695"/>
                  </a:cubicBezTo>
                  <a:cubicBezTo>
                    <a:pt x="841" y="672"/>
                    <a:pt x="863" y="661"/>
                    <a:pt x="885" y="650"/>
                  </a:cubicBezTo>
                  <a:cubicBezTo>
                    <a:pt x="908" y="650"/>
                    <a:pt x="941" y="616"/>
                    <a:pt x="941" y="572"/>
                  </a:cubicBezTo>
                  <a:cubicBezTo>
                    <a:pt x="930" y="538"/>
                    <a:pt x="941" y="549"/>
                    <a:pt x="964" y="538"/>
                  </a:cubicBezTo>
                  <a:cubicBezTo>
                    <a:pt x="975" y="538"/>
                    <a:pt x="986" y="504"/>
                    <a:pt x="986" y="471"/>
                  </a:cubicBezTo>
                  <a:cubicBezTo>
                    <a:pt x="975" y="437"/>
                    <a:pt x="1020" y="471"/>
                    <a:pt x="1031" y="482"/>
                  </a:cubicBezTo>
                  <a:cubicBezTo>
                    <a:pt x="1031" y="504"/>
                    <a:pt x="1009" y="549"/>
                    <a:pt x="1031" y="549"/>
                  </a:cubicBezTo>
                  <a:cubicBezTo>
                    <a:pt x="1054" y="549"/>
                    <a:pt x="1065" y="561"/>
                    <a:pt x="1065" y="594"/>
                  </a:cubicBezTo>
                  <a:cubicBezTo>
                    <a:pt x="1065" y="628"/>
                    <a:pt x="1087" y="650"/>
                    <a:pt x="1121" y="661"/>
                  </a:cubicBezTo>
                  <a:cubicBezTo>
                    <a:pt x="1165" y="661"/>
                    <a:pt x="1143" y="684"/>
                    <a:pt x="1154" y="728"/>
                  </a:cubicBezTo>
                  <a:cubicBezTo>
                    <a:pt x="1165" y="762"/>
                    <a:pt x="1165" y="762"/>
                    <a:pt x="1143" y="773"/>
                  </a:cubicBezTo>
                  <a:cubicBezTo>
                    <a:pt x="1132" y="796"/>
                    <a:pt x="1165" y="852"/>
                    <a:pt x="1165" y="852"/>
                  </a:cubicBezTo>
                  <a:cubicBezTo>
                    <a:pt x="1177" y="852"/>
                    <a:pt x="1177" y="863"/>
                    <a:pt x="1188" y="874"/>
                  </a:cubicBezTo>
                  <a:cubicBezTo>
                    <a:pt x="1199" y="897"/>
                    <a:pt x="1221" y="919"/>
                    <a:pt x="1255" y="941"/>
                  </a:cubicBezTo>
                  <a:cubicBezTo>
                    <a:pt x="1289" y="952"/>
                    <a:pt x="1323" y="919"/>
                    <a:pt x="1345" y="908"/>
                  </a:cubicBezTo>
                  <a:cubicBezTo>
                    <a:pt x="1356" y="874"/>
                    <a:pt x="1356" y="841"/>
                    <a:pt x="1334" y="841"/>
                  </a:cubicBezTo>
                  <a:cubicBezTo>
                    <a:pt x="1311" y="841"/>
                    <a:pt x="1334" y="785"/>
                    <a:pt x="1345" y="762"/>
                  </a:cubicBezTo>
                  <a:cubicBezTo>
                    <a:pt x="1356" y="728"/>
                    <a:pt x="1345" y="695"/>
                    <a:pt x="1323" y="684"/>
                  </a:cubicBezTo>
                  <a:cubicBezTo>
                    <a:pt x="1300" y="684"/>
                    <a:pt x="1323" y="628"/>
                    <a:pt x="1323" y="594"/>
                  </a:cubicBezTo>
                  <a:cubicBezTo>
                    <a:pt x="1323" y="583"/>
                    <a:pt x="1323" y="572"/>
                    <a:pt x="1334" y="572"/>
                  </a:cubicBezTo>
                  <a:lnTo>
                    <a:pt x="1334" y="572"/>
                  </a:lnTo>
                  <a:cubicBezTo>
                    <a:pt x="1334" y="572"/>
                    <a:pt x="1311" y="538"/>
                    <a:pt x="1300" y="527"/>
                  </a:cubicBezTo>
                  <a:cubicBezTo>
                    <a:pt x="1289" y="504"/>
                    <a:pt x="1323" y="482"/>
                    <a:pt x="1356" y="47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25"/>
            <p:cNvSpPr>
              <a:spLocks noChangeArrowheads="1"/>
            </p:cNvSpPr>
            <p:nvPr/>
          </p:nvSpPr>
          <p:spPr bwMode="auto">
            <a:xfrm>
              <a:off x="8877371" y="4227396"/>
              <a:ext cx="531969" cy="937426"/>
            </a:xfrm>
            <a:custGeom>
              <a:avLst/>
              <a:gdLst>
                <a:gd name="T0" fmla="*/ 1502 w 1536"/>
                <a:gd name="T1" fmla="*/ 224 h 2702"/>
                <a:gd name="T2" fmla="*/ 1311 w 1536"/>
                <a:gd name="T3" fmla="*/ 11 h 2702"/>
                <a:gd name="T4" fmla="*/ 1042 w 1536"/>
                <a:gd name="T5" fmla="*/ 112 h 2702"/>
                <a:gd name="T6" fmla="*/ 986 w 1536"/>
                <a:gd name="T7" fmla="*/ 291 h 2702"/>
                <a:gd name="T8" fmla="*/ 1165 w 1536"/>
                <a:gd name="T9" fmla="*/ 404 h 2702"/>
                <a:gd name="T10" fmla="*/ 1053 w 1536"/>
                <a:gd name="T11" fmla="*/ 471 h 2702"/>
                <a:gd name="T12" fmla="*/ 1031 w 1536"/>
                <a:gd name="T13" fmla="*/ 639 h 2702"/>
                <a:gd name="T14" fmla="*/ 941 w 1536"/>
                <a:gd name="T15" fmla="*/ 784 h 2702"/>
                <a:gd name="T16" fmla="*/ 975 w 1536"/>
                <a:gd name="T17" fmla="*/ 908 h 2702"/>
                <a:gd name="T18" fmla="*/ 863 w 1536"/>
                <a:gd name="T19" fmla="*/ 852 h 2702"/>
                <a:gd name="T20" fmla="*/ 773 w 1536"/>
                <a:gd name="T21" fmla="*/ 986 h 2702"/>
                <a:gd name="T22" fmla="*/ 583 w 1536"/>
                <a:gd name="T23" fmla="*/ 1042 h 2702"/>
                <a:gd name="T24" fmla="*/ 448 w 1536"/>
                <a:gd name="T25" fmla="*/ 1121 h 2702"/>
                <a:gd name="T26" fmla="*/ 392 w 1536"/>
                <a:gd name="T27" fmla="*/ 1199 h 2702"/>
                <a:gd name="T28" fmla="*/ 89 w 1536"/>
                <a:gd name="T29" fmla="*/ 1715 h 2702"/>
                <a:gd name="T30" fmla="*/ 347 w 1536"/>
                <a:gd name="T31" fmla="*/ 2667 h 2702"/>
                <a:gd name="T32" fmla="*/ 493 w 1536"/>
                <a:gd name="T33" fmla="*/ 2488 h 2702"/>
                <a:gd name="T34" fmla="*/ 583 w 1536"/>
                <a:gd name="T35" fmla="*/ 2297 h 2702"/>
                <a:gd name="T36" fmla="*/ 706 w 1536"/>
                <a:gd name="T37" fmla="*/ 2297 h 2702"/>
                <a:gd name="T38" fmla="*/ 784 w 1536"/>
                <a:gd name="T39" fmla="*/ 2197 h 2702"/>
                <a:gd name="T40" fmla="*/ 683 w 1536"/>
                <a:gd name="T41" fmla="*/ 2208 h 2702"/>
                <a:gd name="T42" fmla="*/ 706 w 1536"/>
                <a:gd name="T43" fmla="*/ 2107 h 2702"/>
                <a:gd name="T44" fmla="*/ 762 w 1536"/>
                <a:gd name="T45" fmla="*/ 1961 h 2702"/>
                <a:gd name="T46" fmla="*/ 796 w 1536"/>
                <a:gd name="T47" fmla="*/ 2107 h 2702"/>
                <a:gd name="T48" fmla="*/ 829 w 1536"/>
                <a:gd name="T49" fmla="*/ 2006 h 2702"/>
                <a:gd name="T50" fmla="*/ 852 w 1536"/>
                <a:gd name="T51" fmla="*/ 2219 h 2702"/>
                <a:gd name="T52" fmla="*/ 1009 w 1536"/>
                <a:gd name="T53" fmla="*/ 2443 h 2702"/>
                <a:gd name="T54" fmla="*/ 1053 w 1536"/>
                <a:gd name="T55" fmla="*/ 2219 h 2702"/>
                <a:gd name="T56" fmla="*/ 1121 w 1536"/>
                <a:gd name="T57" fmla="*/ 1928 h 2702"/>
                <a:gd name="T58" fmla="*/ 1143 w 1536"/>
                <a:gd name="T59" fmla="*/ 1670 h 2702"/>
                <a:gd name="T60" fmla="*/ 1065 w 1536"/>
                <a:gd name="T61" fmla="*/ 1670 h 2702"/>
                <a:gd name="T62" fmla="*/ 1098 w 1536"/>
                <a:gd name="T63" fmla="*/ 1591 h 2702"/>
                <a:gd name="T64" fmla="*/ 1221 w 1536"/>
                <a:gd name="T65" fmla="*/ 1446 h 2702"/>
                <a:gd name="T66" fmla="*/ 1109 w 1536"/>
                <a:gd name="T67" fmla="*/ 1502 h 2702"/>
                <a:gd name="T68" fmla="*/ 1065 w 1536"/>
                <a:gd name="T69" fmla="*/ 1468 h 2702"/>
                <a:gd name="T70" fmla="*/ 1053 w 1536"/>
                <a:gd name="T71" fmla="*/ 1356 h 2702"/>
                <a:gd name="T72" fmla="*/ 1154 w 1536"/>
                <a:gd name="T73" fmla="*/ 1255 h 2702"/>
                <a:gd name="T74" fmla="*/ 1165 w 1536"/>
                <a:gd name="T75" fmla="*/ 964 h 2702"/>
                <a:gd name="T76" fmla="*/ 1412 w 1536"/>
                <a:gd name="T77" fmla="*/ 639 h 2702"/>
                <a:gd name="T78" fmla="*/ 1502 w 1536"/>
                <a:gd name="T79" fmla="*/ 392 h 2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6" h="2702">
                  <a:moveTo>
                    <a:pt x="1502" y="224"/>
                  </a:moveTo>
                  <a:lnTo>
                    <a:pt x="1502" y="224"/>
                  </a:lnTo>
                  <a:cubicBezTo>
                    <a:pt x="1479" y="191"/>
                    <a:pt x="1434" y="123"/>
                    <a:pt x="1401" y="78"/>
                  </a:cubicBezTo>
                  <a:cubicBezTo>
                    <a:pt x="1367" y="34"/>
                    <a:pt x="1322" y="0"/>
                    <a:pt x="1311" y="11"/>
                  </a:cubicBezTo>
                  <a:cubicBezTo>
                    <a:pt x="1300" y="11"/>
                    <a:pt x="1266" y="78"/>
                    <a:pt x="1199" y="90"/>
                  </a:cubicBezTo>
                  <a:cubicBezTo>
                    <a:pt x="1165" y="101"/>
                    <a:pt x="1098" y="112"/>
                    <a:pt x="1042" y="112"/>
                  </a:cubicBezTo>
                  <a:cubicBezTo>
                    <a:pt x="1031" y="280"/>
                    <a:pt x="1031" y="280"/>
                    <a:pt x="1031" y="280"/>
                  </a:cubicBezTo>
                  <a:cubicBezTo>
                    <a:pt x="986" y="291"/>
                    <a:pt x="986" y="291"/>
                    <a:pt x="986" y="291"/>
                  </a:cubicBezTo>
                  <a:cubicBezTo>
                    <a:pt x="986" y="404"/>
                    <a:pt x="986" y="404"/>
                    <a:pt x="986" y="404"/>
                  </a:cubicBezTo>
                  <a:cubicBezTo>
                    <a:pt x="1165" y="404"/>
                    <a:pt x="1165" y="404"/>
                    <a:pt x="1165" y="404"/>
                  </a:cubicBezTo>
                  <a:cubicBezTo>
                    <a:pt x="1165" y="460"/>
                    <a:pt x="1165" y="460"/>
                    <a:pt x="1165" y="460"/>
                  </a:cubicBezTo>
                  <a:cubicBezTo>
                    <a:pt x="1053" y="471"/>
                    <a:pt x="1053" y="471"/>
                    <a:pt x="1053" y="471"/>
                  </a:cubicBezTo>
                  <a:cubicBezTo>
                    <a:pt x="986" y="639"/>
                    <a:pt x="986" y="639"/>
                    <a:pt x="986" y="639"/>
                  </a:cubicBezTo>
                  <a:cubicBezTo>
                    <a:pt x="1031" y="639"/>
                    <a:pt x="1031" y="639"/>
                    <a:pt x="1031" y="639"/>
                  </a:cubicBezTo>
                  <a:cubicBezTo>
                    <a:pt x="1031" y="773"/>
                    <a:pt x="1031" y="773"/>
                    <a:pt x="1031" y="773"/>
                  </a:cubicBezTo>
                  <a:cubicBezTo>
                    <a:pt x="941" y="784"/>
                    <a:pt x="941" y="784"/>
                    <a:pt x="941" y="784"/>
                  </a:cubicBezTo>
                  <a:cubicBezTo>
                    <a:pt x="941" y="852"/>
                    <a:pt x="941" y="852"/>
                    <a:pt x="941" y="852"/>
                  </a:cubicBezTo>
                  <a:cubicBezTo>
                    <a:pt x="975" y="908"/>
                    <a:pt x="975" y="908"/>
                    <a:pt x="975" y="908"/>
                  </a:cubicBezTo>
                  <a:cubicBezTo>
                    <a:pt x="863" y="908"/>
                    <a:pt x="863" y="908"/>
                    <a:pt x="863" y="908"/>
                  </a:cubicBezTo>
                  <a:cubicBezTo>
                    <a:pt x="863" y="852"/>
                    <a:pt x="863" y="852"/>
                    <a:pt x="863" y="852"/>
                  </a:cubicBezTo>
                  <a:cubicBezTo>
                    <a:pt x="762" y="942"/>
                    <a:pt x="762" y="942"/>
                    <a:pt x="762" y="942"/>
                  </a:cubicBezTo>
                  <a:cubicBezTo>
                    <a:pt x="773" y="986"/>
                    <a:pt x="773" y="986"/>
                    <a:pt x="773" y="986"/>
                  </a:cubicBezTo>
                  <a:cubicBezTo>
                    <a:pt x="583" y="986"/>
                    <a:pt x="583" y="986"/>
                    <a:pt x="583" y="986"/>
                  </a:cubicBezTo>
                  <a:cubicBezTo>
                    <a:pt x="583" y="1042"/>
                    <a:pt x="583" y="1042"/>
                    <a:pt x="583" y="1042"/>
                  </a:cubicBezTo>
                  <a:cubicBezTo>
                    <a:pt x="448" y="1042"/>
                    <a:pt x="448" y="1042"/>
                    <a:pt x="448" y="1042"/>
                  </a:cubicBezTo>
                  <a:cubicBezTo>
                    <a:pt x="448" y="1121"/>
                    <a:pt x="448" y="1121"/>
                    <a:pt x="448" y="1121"/>
                  </a:cubicBezTo>
                  <a:cubicBezTo>
                    <a:pt x="392" y="1132"/>
                    <a:pt x="392" y="1132"/>
                    <a:pt x="392" y="1132"/>
                  </a:cubicBezTo>
                  <a:cubicBezTo>
                    <a:pt x="392" y="1199"/>
                    <a:pt x="392" y="1199"/>
                    <a:pt x="392" y="1199"/>
                  </a:cubicBezTo>
                  <a:cubicBezTo>
                    <a:pt x="0" y="1614"/>
                    <a:pt x="0" y="1614"/>
                    <a:pt x="0" y="1614"/>
                  </a:cubicBezTo>
                  <a:cubicBezTo>
                    <a:pt x="89" y="1715"/>
                    <a:pt x="89" y="1715"/>
                    <a:pt x="89" y="1715"/>
                  </a:cubicBezTo>
                  <a:cubicBezTo>
                    <a:pt x="179" y="2701"/>
                    <a:pt x="179" y="2701"/>
                    <a:pt x="179" y="2701"/>
                  </a:cubicBezTo>
                  <a:cubicBezTo>
                    <a:pt x="179" y="2701"/>
                    <a:pt x="314" y="2656"/>
                    <a:pt x="347" y="2667"/>
                  </a:cubicBezTo>
                  <a:cubicBezTo>
                    <a:pt x="392" y="2678"/>
                    <a:pt x="403" y="2633"/>
                    <a:pt x="426" y="2622"/>
                  </a:cubicBezTo>
                  <a:cubicBezTo>
                    <a:pt x="459" y="2611"/>
                    <a:pt x="493" y="2555"/>
                    <a:pt x="493" y="2488"/>
                  </a:cubicBezTo>
                  <a:cubicBezTo>
                    <a:pt x="482" y="2421"/>
                    <a:pt x="482" y="2387"/>
                    <a:pt x="516" y="2376"/>
                  </a:cubicBezTo>
                  <a:cubicBezTo>
                    <a:pt x="538" y="2376"/>
                    <a:pt x="571" y="2320"/>
                    <a:pt x="583" y="2297"/>
                  </a:cubicBezTo>
                  <a:cubicBezTo>
                    <a:pt x="594" y="2275"/>
                    <a:pt x="650" y="2275"/>
                    <a:pt x="672" y="2275"/>
                  </a:cubicBezTo>
                  <a:cubicBezTo>
                    <a:pt x="683" y="2275"/>
                    <a:pt x="695" y="2286"/>
                    <a:pt x="706" y="2297"/>
                  </a:cubicBezTo>
                  <a:cubicBezTo>
                    <a:pt x="706" y="2286"/>
                    <a:pt x="706" y="2286"/>
                    <a:pt x="706" y="2286"/>
                  </a:cubicBezTo>
                  <a:cubicBezTo>
                    <a:pt x="740" y="2253"/>
                    <a:pt x="762" y="2219"/>
                    <a:pt x="784" y="2197"/>
                  </a:cubicBezTo>
                  <a:cubicBezTo>
                    <a:pt x="807" y="2163"/>
                    <a:pt x="784" y="2140"/>
                    <a:pt x="762" y="2152"/>
                  </a:cubicBezTo>
                  <a:cubicBezTo>
                    <a:pt x="728" y="2163"/>
                    <a:pt x="695" y="2197"/>
                    <a:pt x="683" y="2208"/>
                  </a:cubicBezTo>
                  <a:cubicBezTo>
                    <a:pt x="661" y="2219"/>
                    <a:pt x="627" y="2219"/>
                    <a:pt x="661" y="2185"/>
                  </a:cubicBezTo>
                  <a:cubicBezTo>
                    <a:pt x="683" y="2152"/>
                    <a:pt x="706" y="2118"/>
                    <a:pt x="706" y="2107"/>
                  </a:cubicBezTo>
                  <a:cubicBezTo>
                    <a:pt x="706" y="2084"/>
                    <a:pt x="728" y="2084"/>
                    <a:pt x="740" y="2040"/>
                  </a:cubicBezTo>
                  <a:cubicBezTo>
                    <a:pt x="751" y="2006"/>
                    <a:pt x="751" y="1973"/>
                    <a:pt x="762" y="1961"/>
                  </a:cubicBezTo>
                  <a:cubicBezTo>
                    <a:pt x="773" y="1950"/>
                    <a:pt x="784" y="1950"/>
                    <a:pt x="784" y="1995"/>
                  </a:cubicBezTo>
                  <a:cubicBezTo>
                    <a:pt x="784" y="2051"/>
                    <a:pt x="773" y="2118"/>
                    <a:pt x="796" y="2107"/>
                  </a:cubicBezTo>
                  <a:cubicBezTo>
                    <a:pt x="807" y="2107"/>
                    <a:pt x="829" y="2084"/>
                    <a:pt x="818" y="2051"/>
                  </a:cubicBezTo>
                  <a:cubicBezTo>
                    <a:pt x="807" y="2028"/>
                    <a:pt x="796" y="1995"/>
                    <a:pt x="829" y="2006"/>
                  </a:cubicBezTo>
                  <a:cubicBezTo>
                    <a:pt x="863" y="2017"/>
                    <a:pt x="919" y="2051"/>
                    <a:pt x="907" y="2096"/>
                  </a:cubicBezTo>
                  <a:cubicBezTo>
                    <a:pt x="907" y="2152"/>
                    <a:pt x="852" y="2163"/>
                    <a:pt x="852" y="2219"/>
                  </a:cubicBezTo>
                  <a:cubicBezTo>
                    <a:pt x="852" y="2275"/>
                    <a:pt x="885" y="2309"/>
                    <a:pt x="941" y="2320"/>
                  </a:cubicBezTo>
                  <a:cubicBezTo>
                    <a:pt x="986" y="2342"/>
                    <a:pt x="1009" y="2421"/>
                    <a:pt x="1009" y="2443"/>
                  </a:cubicBezTo>
                  <a:cubicBezTo>
                    <a:pt x="997" y="2466"/>
                    <a:pt x="1042" y="2466"/>
                    <a:pt x="1042" y="2432"/>
                  </a:cubicBezTo>
                  <a:cubicBezTo>
                    <a:pt x="1042" y="2398"/>
                    <a:pt x="1053" y="2286"/>
                    <a:pt x="1053" y="2219"/>
                  </a:cubicBezTo>
                  <a:cubicBezTo>
                    <a:pt x="1053" y="2163"/>
                    <a:pt x="1065" y="2040"/>
                    <a:pt x="1076" y="2028"/>
                  </a:cubicBezTo>
                  <a:cubicBezTo>
                    <a:pt x="1076" y="2006"/>
                    <a:pt x="1098" y="2006"/>
                    <a:pt x="1121" y="1928"/>
                  </a:cubicBezTo>
                  <a:cubicBezTo>
                    <a:pt x="1154" y="1838"/>
                    <a:pt x="1165" y="1771"/>
                    <a:pt x="1165" y="1715"/>
                  </a:cubicBezTo>
                  <a:cubicBezTo>
                    <a:pt x="1154" y="1659"/>
                    <a:pt x="1154" y="1647"/>
                    <a:pt x="1143" y="1670"/>
                  </a:cubicBezTo>
                  <a:cubicBezTo>
                    <a:pt x="1121" y="1692"/>
                    <a:pt x="1098" y="1726"/>
                    <a:pt x="1087" y="1704"/>
                  </a:cubicBezTo>
                  <a:cubicBezTo>
                    <a:pt x="1076" y="1681"/>
                    <a:pt x="1087" y="1670"/>
                    <a:pt x="1065" y="1670"/>
                  </a:cubicBezTo>
                  <a:cubicBezTo>
                    <a:pt x="1042" y="1670"/>
                    <a:pt x="1031" y="1659"/>
                    <a:pt x="1065" y="1647"/>
                  </a:cubicBezTo>
                  <a:cubicBezTo>
                    <a:pt x="1087" y="1636"/>
                    <a:pt x="1098" y="1602"/>
                    <a:pt x="1098" y="1591"/>
                  </a:cubicBezTo>
                  <a:cubicBezTo>
                    <a:pt x="1098" y="1569"/>
                    <a:pt x="1176" y="1558"/>
                    <a:pt x="1199" y="1535"/>
                  </a:cubicBezTo>
                  <a:cubicBezTo>
                    <a:pt x="1233" y="1513"/>
                    <a:pt x="1233" y="1479"/>
                    <a:pt x="1221" y="1446"/>
                  </a:cubicBezTo>
                  <a:cubicBezTo>
                    <a:pt x="1221" y="1412"/>
                    <a:pt x="1199" y="1423"/>
                    <a:pt x="1165" y="1446"/>
                  </a:cubicBezTo>
                  <a:cubicBezTo>
                    <a:pt x="1121" y="1468"/>
                    <a:pt x="1109" y="1479"/>
                    <a:pt x="1109" y="1502"/>
                  </a:cubicBezTo>
                  <a:cubicBezTo>
                    <a:pt x="1121" y="1524"/>
                    <a:pt x="1076" y="1524"/>
                    <a:pt x="1065" y="1513"/>
                  </a:cubicBezTo>
                  <a:cubicBezTo>
                    <a:pt x="1053" y="1502"/>
                    <a:pt x="1053" y="1491"/>
                    <a:pt x="1065" y="1468"/>
                  </a:cubicBezTo>
                  <a:cubicBezTo>
                    <a:pt x="1076" y="1457"/>
                    <a:pt x="1053" y="1457"/>
                    <a:pt x="1031" y="1446"/>
                  </a:cubicBezTo>
                  <a:cubicBezTo>
                    <a:pt x="1020" y="1446"/>
                    <a:pt x="1031" y="1390"/>
                    <a:pt x="1053" y="1356"/>
                  </a:cubicBezTo>
                  <a:cubicBezTo>
                    <a:pt x="1076" y="1322"/>
                    <a:pt x="1098" y="1333"/>
                    <a:pt x="1121" y="1322"/>
                  </a:cubicBezTo>
                  <a:cubicBezTo>
                    <a:pt x="1132" y="1311"/>
                    <a:pt x="1121" y="1289"/>
                    <a:pt x="1154" y="1255"/>
                  </a:cubicBezTo>
                  <a:cubicBezTo>
                    <a:pt x="1176" y="1233"/>
                    <a:pt x="1188" y="1199"/>
                    <a:pt x="1165" y="1166"/>
                  </a:cubicBezTo>
                  <a:cubicBezTo>
                    <a:pt x="1143" y="1132"/>
                    <a:pt x="1132" y="1020"/>
                    <a:pt x="1165" y="964"/>
                  </a:cubicBezTo>
                  <a:cubicBezTo>
                    <a:pt x="1199" y="908"/>
                    <a:pt x="1278" y="829"/>
                    <a:pt x="1322" y="762"/>
                  </a:cubicBezTo>
                  <a:cubicBezTo>
                    <a:pt x="1378" y="684"/>
                    <a:pt x="1356" y="684"/>
                    <a:pt x="1412" y="639"/>
                  </a:cubicBezTo>
                  <a:cubicBezTo>
                    <a:pt x="1457" y="583"/>
                    <a:pt x="1468" y="583"/>
                    <a:pt x="1468" y="571"/>
                  </a:cubicBezTo>
                  <a:cubicBezTo>
                    <a:pt x="1468" y="549"/>
                    <a:pt x="1479" y="471"/>
                    <a:pt x="1502" y="392"/>
                  </a:cubicBezTo>
                  <a:cubicBezTo>
                    <a:pt x="1535" y="314"/>
                    <a:pt x="1535" y="269"/>
                    <a:pt x="1502" y="22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26"/>
            <p:cNvSpPr>
              <a:spLocks noChangeArrowheads="1"/>
            </p:cNvSpPr>
            <p:nvPr/>
          </p:nvSpPr>
          <p:spPr bwMode="auto">
            <a:xfrm>
              <a:off x="8585400" y="4254922"/>
              <a:ext cx="695533" cy="533706"/>
            </a:xfrm>
            <a:custGeom>
              <a:avLst/>
              <a:gdLst>
                <a:gd name="T0" fmla="*/ 1233 w 2007"/>
                <a:gd name="T1" fmla="*/ 1054 h 1537"/>
                <a:gd name="T2" fmla="*/ 1233 w 2007"/>
                <a:gd name="T3" fmla="*/ 1054 h 1537"/>
                <a:gd name="T4" fmla="*/ 1289 w 2007"/>
                <a:gd name="T5" fmla="*/ 1043 h 1537"/>
                <a:gd name="T6" fmla="*/ 1289 w 2007"/>
                <a:gd name="T7" fmla="*/ 964 h 1537"/>
                <a:gd name="T8" fmla="*/ 1424 w 2007"/>
                <a:gd name="T9" fmla="*/ 964 h 1537"/>
                <a:gd name="T10" fmla="*/ 1424 w 2007"/>
                <a:gd name="T11" fmla="*/ 908 h 1537"/>
                <a:gd name="T12" fmla="*/ 1614 w 2007"/>
                <a:gd name="T13" fmla="*/ 908 h 1537"/>
                <a:gd name="T14" fmla="*/ 1603 w 2007"/>
                <a:gd name="T15" fmla="*/ 864 h 1537"/>
                <a:gd name="T16" fmla="*/ 1704 w 2007"/>
                <a:gd name="T17" fmla="*/ 774 h 1537"/>
                <a:gd name="T18" fmla="*/ 1704 w 2007"/>
                <a:gd name="T19" fmla="*/ 830 h 1537"/>
                <a:gd name="T20" fmla="*/ 1816 w 2007"/>
                <a:gd name="T21" fmla="*/ 830 h 1537"/>
                <a:gd name="T22" fmla="*/ 1782 w 2007"/>
                <a:gd name="T23" fmla="*/ 774 h 1537"/>
                <a:gd name="T24" fmla="*/ 1782 w 2007"/>
                <a:gd name="T25" fmla="*/ 706 h 1537"/>
                <a:gd name="T26" fmla="*/ 1872 w 2007"/>
                <a:gd name="T27" fmla="*/ 695 h 1537"/>
                <a:gd name="T28" fmla="*/ 1872 w 2007"/>
                <a:gd name="T29" fmla="*/ 561 h 1537"/>
                <a:gd name="T30" fmla="*/ 1827 w 2007"/>
                <a:gd name="T31" fmla="*/ 561 h 1537"/>
                <a:gd name="T32" fmla="*/ 1894 w 2007"/>
                <a:gd name="T33" fmla="*/ 393 h 1537"/>
                <a:gd name="T34" fmla="*/ 2006 w 2007"/>
                <a:gd name="T35" fmla="*/ 382 h 1537"/>
                <a:gd name="T36" fmla="*/ 2006 w 2007"/>
                <a:gd name="T37" fmla="*/ 326 h 1537"/>
                <a:gd name="T38" fmla="*/ 1827 w 2007"/>
                <a:gd name="T39" fmla="*/ 326 h 1537"/>
                <a:gd name="T40" fmla="*/ 1827 w 2007"/>
                <a:gd name="T41" fmla="*/ 213 h 1537"/>
                <a:gd name="T42" fmla="*/ 1872 w 2007"/>
                <a:gd name="T43" fmla="*/ 202 h 1537"/>
                <a:gd name="T44" fmla="*/ 1883 w 2007"/>
                <a:gd name="T45" fmla="*/ 34 h 1537"/>
                <a:gd name="T46" fmla="*/ 1782 w 2007"/>
                <a:gd name="T47" fmla="*/ 34 h 1537"/>
                <a:gd name="T48" fmla="*/ 1491 w 2007"/>
                <a:gd name="T49" fmla="*/ 23 h 1537"/>
                <a:gd name="T50" fmla="*/ 1177 w 2007"/>
                <a:gd name="T51" fmla="*/ 45 h 1537"/>
                <a:gd name="T52" fmla="*/ 875 w 2007"/>
                <a:gd name="T53" fmla="*/ 202 h 1537"/>
                <a:gd name="T54" fmla="*/ 516 w 2007"/>
                <a:gd name="T55" fmla="*/ 303 h 1537"/>
                <a:gd name="T56" fmla="*/ 213 w 2007"/>
                <a:gd name="T57" fmla="*/ 404 h 1537"/>
                <a:gd name="T58" fmla="*/ 23 w 2007"/>
                <a:gd name="T59" fmla="*/ 561 h 1537"/>
                <a:gd name="T60" fmla="*/ 0 w 2007"/>
                <a:gd name="T61" fmla="*/ 606 h 1537"/>
                <a:gd name="T62" fmla="*/ 45 w 2007"/>
                <a:gd name="T63" fmla="*/ 684 h 1537"/>
                <a:gd name="T64" fmla="*/ 45 w 2007"/>
                <a:gd name="T65" fmla="*/ 841 h 1537"/>
                <a:gd name="T66" fmla="*/ 180 w 2007"/>
                <a:gd name="T67" fmla="*/ 841 h 1537"/>
                <a:gd name="T68" fmla="*/ 180 w 2007"/>
                <a:gd name="T69" fmla="*/ 931 h 1537"/>
                <a:gd name="T70" fmla="*/ 404 w 2007"/>
                <a:gd name="T71" fmla="*/ 931 h 1537"/>
                <a:gd name="T72" fmla="*/ 426 w 2007"/>
                <a:gd name="T73" fmla="*/ 1043 h 1537"/>
                <a:gd name="T74" fmla="*/ 505 w 2007"/>
                <a:gd name="T75" fmla="*/ 1110 h 1537"/>
                <a:gd name="T76" fmla="*/ 561 w 2007"/>
                <a:gd name="T77" fmla="*/ 1065 h 1537"/>
                <a:gd name="T78" fmla="*/ 606 w 2007"/>
                <a:gd name="T79" fmla="*/ 1076 h 1537"/>
                <a:gd name="T80" fmla="*/ 617 w 2007"/>
                <a:gd name="T81" fmla="*/ 1278 h 1537"/>
                <a:gd name="T82" fmla="*/ 841 w 2007"/>
                <a:gd name="T83" fmla="*/ 1536 h 1537"/>
                <a:gd name="T84" fmla="*/ 841 w 2007"/>
                <a:gd name="T85" fmla="*/ 1536 h 1537"/>
                <a:gd name="T86" fmla="*/ 1233 w 2007"/>
                <a:gd name="T87" fmla="*/ 1121 h 1537"/>
                <a:gd name="T88" fmla="*/ 1233 w 2007"/>
                <a:gd name="T89" fmla="*/ 1054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07" h="1537">
                  <a:moveTo>
                    <a:pt x="1233" y="1054"/>
                  </a:moveTo>
                  <a:lnTo>
                    <a:pt x="1233" y="1054"/>
                  </a:lnTo>
                  <a:cubicBezTo>
                    <a:pt x="1289" y="1043"/>
                    <a:pt x="1289" y="1043"/>
                    <a:pt x="1289" y="1043"/>
                  </a:cubicBezTo>
                  <a:cubicBezTo>
                    <a:pt x="1289" y="964"/>
                    <a:pt x="1289" y="964"/>
                    <a:pt x="1289" y="964"/>
                  </a:cubicBezTo>
                  <a:cubicBezTo>
                    <a:pt x="1424" y="964"/>
                    <a:pt x="1424" y="964"/>
                    <a:pt x="1424" y="964"/>
                  </a:cubicBezTo>
                  <a:cubicBezTo>
                    <a:pt x="1424" y="908"/>
                    <a:pt x="1424" y="908"/>
                    <a:pt x="1424" y="908"/>
                  </a:cubicBezTo>
                  <a:cubicBezTo>
                    <a:pt x="1614" y="908"/>
                    <a:pt x="1614" y="908"/>
                    <a:pt x="1614" y="908"/>
                  </a:cubicBezTo>
                  <a:cubicBezTo>
                    <a:pt x="1603" y="864"/>
                    <a:pt x="1603" y="864"/>
                    <a:pt x="1603" y="864"/>
                  </a:cubicBezTo>
                  <a:cubicBezTo>
                    <a:pt x="1704" y="774"/>
                    <a:pt x="1704" y="774"/>
                    <a:pt x="1704" y="774"/>
                  </a:cubicBezTo>
                  <a:cubicBezTo>
                    <a:pt x="1704" y="830"/>
                    <a:pt x="1704" y="830"/>
                    <a:pt x="1704" y="830"/>
                  </a:cubicBezTo>
                  <a:cubicBezTo>
                    <a:pt x="1816" y="830"/>
                    <a:pt x="1816" y="830"/>
                    <a:pt x="1816" y="830"/>
                  </a:cubicBezTo>
                  <a:cubicBezTo>
                    <a:pt x="1782" y="774"/>
                    <a:pt x="1782" y="774"/>
                    <a:pt x="1782" y="774"/>
                  </a:cubicBezTo>
                  <a:cubicBezTo>
                    <a:pt x="1782" y="706"/>
                    <a:pt x="1782" y="706"/>
                    <a:pt x="1782" y="706"/>
                  </a:cubicBezTo>
                  <a:cubicBezTo>
                    <a:pt x="1872" y="695"/>
                    <a:pt x="1872" y="695"/>
                    <a:pt x="1872" y="695"/>
                  </a:cubicBezTo>
                  <a:cubicBezTo>
                    <a:pt x="1872" y="561"/>
                    <a:pt x="1872" y="561"/>
                    <a:pt x="1872" y="561"/>
                  </a:cubicBezTo>
                  <a:cubicBezTo>
                    <a:pt x="1827" y="561"/>
                    <a:pt x="1827" y="561"/>
                    <a:pt x="1827" y="561"/>
                  </a:cubicBezTo>
                  <a:cubicBezTo>
                    <a:pt x="1894" y="393"/>
                    <a:pt x="1894" y="393"/>
                    <a:pt x="1894" y="393"/>
                  </a:cubicBezTo>
                  <a:cubicBezTo>
                    <a:pt x="2006" y="382"/>
                    <a:pt x="2006" y="382"/>
                    <a:pt x="2006" y="382"/>
                  </a:cubicBezTo>
                  <a:cubicBezTo>
                    <a:pt x="2006" y="326"/>
                    <a:pt x="2006" y="326"/>
                    <a:pt x="2006" y="326"/>
                  </a:cubicBezTo>
                  <a:cubicBezTo>
                    <a:pt x="1827" y="326"/>
                    <a:pt x="1827" y="326"/>
                    <a:pt x="1827" y="326"/>
                  </a:cubicBezTo>
                  <a:cubicBezTo>
                    <a:pt x="1827" y="213"/>
                    <a:pt x="1827" y="213"/>
                    <a:pt x="1827" y="213"/>
                  </a:cubicBezTo>
                  <a:cubicBezTo>
                    <a:pt x="1872" y="202"/>
                    <a:pt x="1872" y="202"/>
                    <a:pt x="1872" y="202"/>
                  </a:cubicBezTo>
                  <a:cubicBezTo>
                    <a:pt x="1883" y="34"/>
                    <a:pt x="1883" y="34"/>
                    <a:pt x="1883" y="34"/>
                  </a:cubicBezTo>
                  <a:cubicBezTo>
                    <a:pt x="1838" y="34"/>
                    <a:pt x="1805" y="34"/>
                    <a:pt x="1782" y="34"/>
                  </a:cubicBezTo>
                  <a:cubicBezTo>
                    <a:pt x="1715" y="34"/>
                    <a:pt x="1547" y="23"/>
                    <a:pt x="1491" y="23"/>
                  </a:cubicBezTo>
                  <a:cubicBezTo>
                    <a:pt x="1424" y="12"/>
                    <a:pt x="1244" y="0"/>
                    <a:pt x="1177" y="45"/>
                  </a:cubicBezTo>
                  <a:cubicBezTo>
                    <a:pt x="1099" y="79"/>
                    <a:pt x="1042" y="146"/>
                    <a:pt x="875" y="202"/>
                  </a:cubicBezTo>
                  <a:cubicBezTo>
                    <a:pt x="706" y="258"/>
                    <a:pt x="550" y="292"/>
                    <a:pt x="516" y="303"/>
                  </a:cubicBezTo>
                  <a:cubicBezTo>
                    <a:pt x="482" y="314"/>
                    <a:pt x="337" y="314"/>
                    <a:pt x="213" y="404"/>
                  </a:cubicBezTo>
                  <a:cubicBezTo>
                    <a:pt x="90" y="493"/>
                    <a:pt x="45" y="527"/>
                    <a:pt x="23" y="561"/>
                  </a:cubicBezTo>
                  <a:cubicBezTo>
                    <a:pt x="12" y="572"/>
                    <a:pt x="12" y="583"/>
                    <a:pt x="0" y="606"/>
                  </a:cubicBezTo>
                  <a:cubicBezTo>
                    <a:pt x="0" y="606"/>
                    <a:pt x="34" y="594"/>
                    <a:pt x="45" y="684"/>
                  </a:cubicBezTo>
                  <a:cubicBezTo>
                    <a:pt x="45" y="774"/>
                    <a:pt x="45" y="841"/>
                    <a:pt x="45" y="841"/>
                  </a:cubicBezTo>
                  <a:cubicBezTo>
                    <a:pt x="180" y="841"/>
                    <a:pt x="180" y="841"/>
                    <a:pt x="180" y="841"/>
                  </a:cubicBezTo>
                  <a:cubicBezTo>
                    <a:pt x="180" y="931"/>
                    <a:pt x="180" y="931"/>
                    <a:pt x="180" y="931"/>
                  </a:cubicBezTo>
                  <a:cubicBezTo>
                    <a:pt x="404" y="931"/>
                    <a:pt x="404" y="931"/>
                    <a:pt x="404" y="931"/>
                  </a:cubicBezTo>
                  <a:cubicBezTo>
                    <a:pt x="426" y="1043"/>
                    <a:pt x="426" y="1043"/>
                    <a:pt x="426" y="1043"/>
                  </a:cubicBezTo>
                  <a:cubicBezTo>
                    <a:pt x="505" y="1110"/>
                    <a:pt x="505" y="1110"/>
                    <a:pt x="505" y="1110"/>
                  </a:cubicBezTo>
                  <a:cubicBezTo>
                    <a:pt x="505" y="1110"/>
                    <a:pt x="538" y="1076"/>
                    <a:pt x="561" y="1065"/>
                  </a:cubicBezTo>
                  <a:cubicBezTo>
                    <a:pt x="594" y="1065"/>
                    <a:pt x="606" y="1076"/>
                    <a:pt x="606" y="1076"/>
                  </a:cubicBezTo>
                  <a:cubicBezTo>
                    <a:pt x="617" y="1278"/>
                    <a:pt x="617" y="1278"/>
                    <a:pt x="617" y="1278"/>
                  </a:cubicBezTo>
                  <a:cubicBezTo>
                    <a:pt x="841" y="1536"/>
                    <a:pt x="841" y="1536"/>
                    <a:pt x="841" y="1536"/>
                  </a:cubicBezTo>
                  <a:lnTo>
                    <a:pt x="841" y="1536"/>
                  </a:lnTo>
                  <a:cubicBezTo>
                    <a:pt x="1233" y="1121"/>
                    <a:pt x="1233" y="1121"/>
                    <a:pt x="1233" y="1121"/>
                  </a:cubicBezTo>
                  <a:lnTo>
                    <a:pt x="1233" y="1054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27"/>
            <p:cNvSpPr>
              <a:spLocks noChangeArrowheads="1"/>
            </p:cNvSpPr>
            <p:nvPr/>
          </p:nvSpPr>
          <p:spPr bwMode="auto">
            <a:xfrm>
              <a:off x="8134449" y="4461371"/>
              <a:ext cx="801010" cy="761563"/>
            </a:xfrm>
            <a:custGeom>
              <a:avLst/>
              <a:gdLst>
                <a:gd name="T0" fmla="*/ 79 w 2310"/>
                <a:gd name="T1" fmla="*/ 1771 h 2198"/>
                <a:gd name="T2" fmla="*/ 258 w 2310"/>
                <a:gd name="T3" fmla="*/ 1838 h 2198"/>
                <a:gd name="T4" fmla="*/ 337 w 2310"/>
                <a:gd name="T5" fmla="*/ 2085 h 2198"/>
                <a:gd name="T6" fmla="*/ 471 w 2310"/>
                <a:gd name="T7" fmla="*/ 2130 h 2198"/>
                <a:gd name="T8" fmla="*/ 606 w 2310"/>
                <a:gd name="T9" fmla="*/ 2174 h 2198"/>
                <a:gd name="T10" fmla="*/ 662 w 2310"/>
                <a:gd name="T11" fmla="*/ 2029 h 2198"/>
                <a:gd name="T12" fmla="*/ 830 w 2310"/>
                <a:gd name="T13" fmla="*/ 2074 h 2198"/>
                <a:gd name="T14" fmla="*/ 1076 w 2310"/>
                <a:gd name="T15" fmla="*/ 2118 h 2198"/>
                <a:gd name="T16" fmla="*/ 2309 w 2310"/>
                <a:gd name="T17" fmla="*/ 2118 h 2198"/>
                <a:gd name="T18" fmla="*/ 2230 w 2310"/>
                <a:gd name="T19" fmla="*/ 1043 h 2198"/>
                <a:gd name="T20" fmla="*/ 1917 w 2310"/>
                <a:gd name="T21" fmla="*/ 684 h 2198"/>
                <a:gd name="T22" fmla="*/ 1861 w 2310"/>
                <a:gd name="T23" fmla="*/ 471 h 2198"/>
                <a:gd name="T24" fmla="*/ 1726 w 2310"/>
                <a:gd name="T25" fmla="*/ 449 h 2198"/>
                <a:gd name="T26" fmla="*/ 1480 w 2310"/>
                <a:gd name="T27" fmla="*/ 337 h 2198"/>
                <a:gd name="T28" fmla="*/ 1345 w 2310"/>
                <a:gd name="T29" fmla="*/ 247 h 2198"/>
                <a:gd name="T30" fmla="*/ 1300 w 2310"/>
                <a:gd name="T31" fmla="*/ 12 h 2198"/>
                <a:gd name="T32" fmla="*/ 1255 w 2310"/>
                <a:gd name="T33" fmla="*/ 471 h 2198"/>
                <a:gd name="T34" fmla="*/ 1188 w 2310"/>
                <a:gd name="T35" fmla="*/ 930 h 2198"/>
                <a:gd name="T36" fmla="*/ 897 w 2310"/>
                <a:gd name="T37" fmla="*/ 1390 h 2198"/>
                <a:gd name="T38" fmla="*/ 774 w 2310"/>
                <a:gd name="T39" fmla="*/ 1536 h 2198"/>
                <a:gd name="T40" fmla="*/ 908 w 2310"/>
                <a:gd name="T41" fmla="*/ 1569 h 2198"/>
                <a:gd name="T42" fmla="*/ 841 w 2310"/>
                <a:gd name="T43" fmla="*/ 1648 h 2198"/>
                <a:gd name="T44" fmla="*/ 863 w 2310"/>
                <a:gd name="T45" fmla="*/ 1670 h 2198"/>
                <a:gd name="T46" fmla="*/ 751 w 2310"/>
                <a:gd name="T47" fmla="*/ 1737 h 2198"/>
                <a:gd name="T48" fmla="*/ 639 w 2310"/>
                <a:gd name="T49" fmla="*/ 1827 h 2198"/>
                <a:gd name="T50" fmla="*/ 550 w 2310"/>
                <a:gd name="T51" fmla="*/ 1872 h 2198"/>
                <a:gd name="T52" fmla="*/ 437 w 2310"/>
                <a:gd name="T53" fmla="*/ 1838 h 2198"/>
                <a:gd name="T54" fmla="*/ 460 w 2310"/>
                <a:gd name="T55" fmla="*/ 1782 h 2198"/>
                <a:gd name="T56" fmla="*/ 381 w 2310"/>
                <a:gd name="T57" fmla="*/ 1771 h 2198"/>
                <a:gd name="T58" fmla="*/ 281 w 2310"/>
                <a:gd name="T59" fmla="*/ 1760 h 2198"/>
                <a:gd name="T60" fmla="*/ 213 w 2310"/>
                <a:gd name="T61" fmla="*/ 1760 h 2198"/>
                <a:gd name="T62" fmla="*/ 269 w 2310"/>
                <a:gd name="T63" fmla="*/ 1692 h 2198"/>
                <a:gd name="T64" fmla="*/ 370 w 2310"/>
                <a:gd name="T65" fmla="*/ 1670 h 2198"/>
                <a:gd name="T66" fmla="*/ 202 w 2310"/>
                <a:gd name="T67" fmla="*/ 1681 h 2198"/>
                <a:gd name="T68" fmla="*/ 0 w 2310"/>
                <a:gd name="T69" fmla="*/ 1715 h 2198"/>
                <a:gd name="T70" fmla="*/ 79 w 2310"/>
                <a:gd name="T71" fmla="*/ 1771 h 2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10" h="2198">
                  <a:moveTo>
                    <a:pt x="79" y="1771"/>
                  </a:moveTo>
                  <a:lnTo>
                    <a:pt x="79" y="1771"/>
                  </a:lnTo>
                  <a:cubicBezTo>
                    <a:pt x="90" y="1805"/>
                    <a:pt x="112" y="1838"/>
                    <a:pt x="146" y="1838"/>
                  </a:cubicBezTo>
                  <a:cubicBezTo>
                    <a:pt x="191" y="1838"/>
                    <a:pt x="258" y="1838"/>
                    <a:pt x="258" y="1838"/>
                  </a:cubicBezTo>
                  <a:cubicBezTo>
                    <a:pt x="258" y="1838"/>
                    <a:pt x="281" y="1984"/>
                    <a:pt x="292" y="2006"/>
                  </a:cubicBezTo>
                  <a:cubicBezTo>
                    <a:pt x="303" y="2018"/>
                    <a:pt x="314" y="2085"/>
                    <a:pt x="337" y="2085"/>
                  </a:cubicBezTo>
                  <a:cubicBezTo>
                    <a:pt x="359" y="2085"/>
                    <a:pt x="381" y="2063"/>
                    <a:pt x="404" y="2096"/>
                  </a:cubicBezTo>
                  <a:cubicBezTo>
                    <a:pt x="415" y="2141"/>
                    <a:pt x="471" y="2096"/>
                    <a:pt x="471" y="2130"/>
                  </a:cubicBezTo>
                  <a:cubicBezTo>
                    <a:pt x="482" y="2152"/>
                    <a:pt x="482" y="2152"/>
                    <a:pt x="527" y="2152"/>
                  </a:cubicBezTo>
                  <a:cubicBezTo>
                    <a:pt x="561" y="2152"/>
                    <a:pt x="583" y="2163"/>
                    <a:pt x="606" y="2174"/>
                  </a:cubicBezTo>
                  <a:cubicBezTo>
                    <a:pt x="628" y="2197"/>
                    <a:pt x="662" y="2174"/>
                    <a:pt x="662" y="2174"/>
                  </a:cubicBezTo>
                  <a:cubicBezTo>
                    <a:pt x="662" y="2029"/>
                    <a:pt x="662" y="2029"/>
                    <a:pt x="662" y="2029"/>
                  </a:cubicBezTo>
                  <a:cubicBezTo>
                    <a:pt x="662" y="2029"/>
                    <a:pt x="684" y="2040"/>
                    <a:pt x="729" y="2029"/>
                  </a:cubicBezTo>
                  <a:cubicBezTo>
                    <a:pt x="774" y="2029"/>
                    <a:pt x="807" y="2085"/>
                    <a:pt x="830" y="2074"/>
                  </a:cubicBezTo>
                  <a:cubicBezTo>
                    <a:pt x="863" y="2074"/>
                    <a:pt x="897" y="2063"/>
                    <a:pt x="908" y="2096"/>
                  </a:cubicBezTo>
                  <a:cubicBezTo>
                    <a:pt x="930" y="2130"/>
                    <a:pt x="1076" y="2118"/>
                    <a:pt x="1076" y="2118"/>
                  </a:cubicBezTo>
                  <a:cubicBezTo>
                    <a:pt x="1087" y="2197"/>
                    <a:pt x="1087" y="2197"/>
                    <a:pt x="1087" y="2197"/>
                  </a:cubicBezTo>
                  <a:cubicBezTo>
                    <a:pt x="2309" y="2118"/>
                    <a:pt x="2309" y="2118"/>
                    <a:pt x="2309" y="2118"/>
                  </a:cubicBezTo>
                  <a:cubicBezTo>
                    <a:pt x="2309" y="2006"/>
                    <a:pt x="2309" y="2006"/>
                    <a:pt x="2309" y="2006"/>
                  </a:cubicBezTo>
                  <a:cubicBezTo>
                    <a:pt x="2230" y="1043"/>
                    <a:pt x="2230" y="1043"/>
                    <a:pt x="2230" y="1043"/>
                  </a:cubicBezTo>
                  <a:cubicBezTo>
                    <a:pt x="2141" y="942"/>
                    <a:pt x="2141" y="942"/>
                    <a:pt x="2141" y="942"/>
                  </a:cubicBezTo>
                  <a:cubicBezTo>
                    <a:pt x="1917" y="684"/>
                    <a:pt x="1917" y="684"/>
                    <a:pt x="1917" y="684"/>
                  </a:cubicBezTo>
                  <a:cubicBezTo>
                    <a:pt x="1906" y="482"/>
                    <a:pt x="1906" y="482"/>
                    <a:pt x="1906" y="482"/>
                  </a:cubicBezTo>
                  <a:cubicBezTo>
                    <a:pt x="1906" y="482"/>
                    <a:pt x="1894" y="471"/>
                    <a:pt x="1861" y="471"/>
                  </a:cubicBezTo>
                  <a:cubicBezTo>
                    <a:pt x="1838" y="482"/>
                    <a:pt x="1805" y="516"/>
                    <a:pt x="1805" y="516"/>
                  </a:cubicBezTo>
                  <a:cubicBezTo>
                    <a:pt x="1726" y="449"/>
                    <a:pt x="1726" y="449"/>
                    <a:pt x="1726" y="449"/>
                  </a:cubicBezTo>
                  <a:cubicBezTo>
                    <a:pt x="1704" y="337"/>
                    <a:pt x="1704" y="337"/>
                    <a:pt x="1704" y="337"/>
                  </a:cubicBezTo>
                  <a:cubicBezTo>
                    <a:pt x="1480" y="337"/>
                    <a:pt x="1480" y="337"/>
                    <a:pt x="1480" y="337"/>
                  </a:cubicBezTo>
                  <a:cubicBezTo>
                    <a:pt x="1480" y="247"/>
                    <a:pt x="1480" y="247"/>
                    <a:pt x="1480" y="247"/>
                  </a:cubicBezTo>
                  <a:cubicBezTo>
                    <a:pt x="1345" y="247"/>
                    <a:pt x="1345" y="247"/>
                    <a:pt x="1345" y="247"/>
                  </a:cubicBezTo>
                  <a:cubicBezTo>
                    <a:pt x="1345" y="247"/>
                    <a:pt x="1345" y="180"/>
                    <a:pt x="1345" y="90"/>
                  </a:cubicBezTo>
                  <a:cubicBezTo>
                    <a:pt x="1334" y="0"/>
                    <a:pt x="1300" y="12"/>
                    <a:pt x="1300" y="12"/>
                  </a:cubicBezTo>
                  <a:cubicBezTo>
                    <a:pt x="1278" y="56"/>
                    <a:pt x="1255" y="135"/>
                    <a:pt x="1244" y="247"/>
                  </a:cubicBezTo>
                  <a:cubicBezTo>
                    <a:pt x="1222" y="404"/>
                    <a:pt x="1233" y="426"/>
                    <a:pt x="1255" y="471"/>
                  </a:cubicBezTo>
                  <a:cubicBezTo>
                    <a:pt x="1289" y="516"/>
                    <a:pt x="1323" y="583"/>
                    <a:pt x="1300" y="661"/>
                  </a:cubicBezTo>
                  <a:cubicBezTo>
                    <a:pt x="1278" y="729"/>
                    <a:pt x="1211" y="807"/>
                    <a:pt x="1188" y="930"/>
                  </a:cubicBezTo>
                  <a:cubicBezTo>
                    <a:pt x="1166" y="1065"/>
                    <a:pt x="1166" y="1132"/>
                    <a:pt x="1121" y="1177"/>
                  </a:cubicBezTo>
                  <a:cubicBezTo>
                    <a:pt x="1087" y="1222"/>
                    <a:pt x="953" y="1345"/>
                    <a:pt x="897" y="1390"/>
                  </a:cubicBezTo>
                  <a:cubicBezTo>
                    <a:pt x="841" y="1446"/>
                    <a:pt x="774" y="1491"/>
                    <a:pt x="762" y="1502"/>
                  </a:cubicBezTo>
                  <a:cubicBezTo>
                    <a:pt x="740" y="1513"/>
                    <a:pt x="740" y="1536"/>
                    <a:pt x="774" y="1536"/>
                  </a:cubicBezTo>
                  <a:cubicBezTo>
                    <a:pt x="818" y="1536"/>
                    <a:pt x="818" y="1558"/>
                    <a:pt x="830" y="1569"/>
                  </a:cubicBezTo>
                  <a:cubicBezTo>
                    <a:pt x="830" y="1592"/>
                    <a:pt x="875" y="1569"/>
                    <a:pt x="908" y="1569"/>
                  </a:cubicBezTo>
                  <a:cubicBezTo>
                    <a:pt x="953" y="1569"/>
                    <a:pt x="919" y="1581"/>
                    <a:pt x="875" y="1592"/>
                  </a:cubicBezTo>
                  <a:cubicBezTo>
                    <a:pt x="841" y="1603"/>
                    <a:pt x="841" y="1625"/>
                    <a:pt x="841" y="1648"/>
                  </a:cubicBezTo>
                  <a:cubicBezTo>
                    <a:pt x="841" y="1670"/>
                    <a:pt x="875" y="1659"/>
                    <a:pt x="897" y="1659"/>
                  </a:cubicBezTo>
                  <a:cubicBezTo>
                    <a:pt x="919" y="1659"/>
                    <a:pt x="897" y="1670"/>
                    <a:pt x="863" y="1670"/>
                  </a:cubicBezTo>
                  <a:cubicBezTo>
                    <a:pt x="830" y="1681"/>
                    <a:pt x="830" y="1692"/>
                    <a:pt x="807" y="1715"/>
                  </a:cubicBezTo>
                  <a:cubicBezTo>
                    <a:pt x="785" y="1737"/>
                    <a:pt x="774" y="1749"/>
                    <a:pt x="751" y="1737"/>
                  </a:cubicBezTo>
                  <a:cubicBezTo>
                    <a:pt x="717" y="1737"/>
                    <a:pt x="706" y="1737"/>
                    <a:pt x="695" y="1782"/>
                  </a:cubicBezTo>
                  <a:cubicBezTo>
                    <a:pt x="684" y="1816"/>
                    <a:pt x="662" y="1838"/>
                    <a:pt x="639" y="1827"/>
                  </a:cubicBezTo>
                  <a:cubicBezTo>
                    <a:pt x="617" y="1816"/>
                    <a:pt x="594" y="1805"/>
                    <a:pt x="572" y="1805"/>
                  </a:cubicBezTo>
                  <a:cubicBezTo>
                    <a:pt x="561" y="1816"/>
                    <a:pt x="550" y="1850"/>
                    <a:pt x="550" y="1872"/>
                  </a:cubicBezTo>
                  <a:cubicBezTo>
                    <a:pt x="550" y="1894"/>
                    <a:pt x="505" y="1883"/>
                    <a:pt x="471" y="1883"/>
                  </a:cubicBezTo>
                  <a:cubicBezTo>
                    <a:pt x="448" y="1883"/>
                    <a:pt x="415" y="1861"/>
                    <a:pt x="437" y="1838"/>
                  </a:cubicBezTo>
                  <a:cubicBezTo>
                    <a:pt x="471" y="1827"/>
                    <a:pt x="493" y="1827"/>
                    <a:pt x="471" y="1816"/>
                  </a:cubicBezTo>
                  <a:cubicBezTo>
                    <a:pt x="460" y="1805"/>
                    <a:pt x="471" y="1794"/>
                    <a:pt x="460" y="1782"/>
                  </a:cubicBezTo>
                  <a:cubicBezTo>
                    <a:pt x="448" y="1771"/>
                    <a:pt x="448" y="1794"/>
                    <a:pt x="426" y="1782"/>
                  </a:cubicBezTo>
                  <a:cubicBezTo>
                    <a:pt x="404" y="1760"/>
                    <a:pt x="393" y="1760"/>
                    <a:pt x="381" y="1771"/>
                  </a:cubicBezTo>
                  <a:cubicBezTo>
                    <a:pt x="359" y="1794"/>
                    <a:pt x="337" y="1782"/>
                    <a:pt x="325" y="1760"/>
                  </a:cubicBezTo>
                  <a:cubicBezTo>
                    <a:pt x="303" y="1749"/>
                    <a:pt x="292" y="1749"/>
                    <a:pt x="281" y="1760"/>
                  </a:cubicBezTo>
                  <a:cubicBezTo>
                    <a:pt x="269" y="1771"/>
                    <a:pt x="235" y="1782"/>
                    <a:pt x="213" y="1782"/>
                  </a:cubicBezTo>
                  <a:cubicBezTo>
                    <a:pt x="191" y="1771"/>
                    <a:pt x="168" y="1760"/>
                    <a:pt x="213" y="1760"/>
                  </a:cubicBezTo>
                  <a:cubicBezTo>
                    <a:pt x="247" y="1760"/>
                    <a:pt x="247" y="1749"/>
                    <a:pt x="235" y="1726"/>
                  </a:cubicBezTo>
                  <a:cubicBezTo>
                    <a:pt x="235" y="1704"/>
                    <a:pt x="235" y="1692"/>
                    <a:pt x="269" y="1692"/>
                  </a:cubicBezTo>
                  <a:cubicBezTo>
                    <a:pt x="292" y="1692"/>
                    <a:pt x="325" y="1715"/>
                    <a:pt x="370" y="1704"/>
                  </a:cubicBezTo>
                  <a:cubicBezTo>
                    <a:pt x="404" y="1692"/>
                    <a:pt x="404" y="1681"/>
                    <a:pt x="370" y="1670"/>
                  </a:cubicBezTo>
                  <a:cubicBezTo>
                    <a:pt x="337" y="1670"/>
                    <a:pt x="314" y="1637"/>
                    <a:pt x="281" y="1648"/>
                  </a:cubicBezTo>
                  <a:cubicBezTo>
                    <a:pt x="247" y="1648"/>
                    <a:pt x="235" y="1681"/>
                    <a:pt x="202" y="1681"/>
                  </a:cubicBezTo>
                  <a:cubicBezTo>
                    <a:pt x="180" y="1692"/>
                    <a:pt x="112" y="1681"/>
                    <a:pt x="79" y="1692"/>
                  </a:cubicBezTo>
                  <a:cubicBezTo>
                    <a:pt x="68" y="1692"/>
                    <a:pt x="34" y="1704"/>
                    <a:pt x="0" y="1715"/>
                  </a:cubicBezTo>
                  <a:cubicBezTo>
                    <a:pt x="12" y="1715"/>
                    <a:pt x="23" y="1726"/>
                    <a:pt x="34" y="1726"/>
                  </a:cubicBezTo>
                  <a:cubicBezTo>
                    <a:pt x="68" y="1737"/>
                    <a:pt x="79" y="1737"/>
                    <a:pt x="79" y="177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28"/>
            <p:cNvSpPr>
              <a:spLocks noChangeArrowheads="1"/>
            </p:cNvSpPr>
            <p:nvPr/>
          </p:nvSpPr>
          <p:spPr bwMode="auto">
            <a:xfrm>
              <a:off x="7781332" y="5054717"/>
              <a:ext cx="730693" cy="354784"/>
            </a:xfrm>
            <a:custGeom>
              <a:avLst/>
              <a:gdLst>
                <a:gd name="T0" fmla="*/ 22 w 2107"/>
                <a:gd name="T1" fmla="*/ 527 h 1021"/>
                <a:gd name="T2" fmla="*/ 78 w 2107"/>
                <a:gd name="T3" fmla="*/ 617 h 1021"/>
                <a:gd name="T4" fmla="*/ 235 w 2107"/>
                <a:gd name="T5" fmla="*/ 728 h 1021"/>
                <a:gd name="T6" fmla="*/ 336 w 2107"/>
                <a:gd name="T7" fmla="*/ 841 h 1021"/>
                <a:gd name="T8" fmla="*/ 347 w 2107"/>
                <a:gd name="T9" fmla="*/ 1020 h 1021"/>
                <a:gd name="T10" fmla="*/ 436 w 2107"/>
                <a:gd name="T11" fmla="*/ 863 h 1021"/>
                <a:gd name="T12" fmla="*/ 526 w 2107"/>
                <a:gd name="T13" fmla="*/ 717 h 1021"/>
                <a:gd name="T14" fmla="*/ 526 w 2107"/>
                <a:gd name="T15" fmla="*/ 515 h 1021"/>
                <a:gd name="T16" fmla="*/ 683 w 2107"/>
                <a:gd name="T17" fmla="*/ 560 h 1021"/>
                <a:gd name="T18" fmla="*/ 739 w 2107"/>
                <a:gd name="T19" fmla="*/ 639 h 1021"/>
                <a:gd name="T20" fmla="*/ 773 w 2107"/>
                <a:gd name="T21" fmla="*/ 807 h 1021"/>
                <a:gd name="T22" fmla="*/ 885 w 2107"/>
                <a:gd name="T23" fmla="*/ 874 h 1021"/>
                <a:gd name="T24" fmla="*/ 986 w 2107"/>
                <a:gd name="T25" fmla="*/ 930 h 1021"/>
                <a:gd name="T26" fmla="*/ 1042 w 2107"/>
                <a:gd name="T27" fmla="*/ 784 h 1021"/>
                <a:gd name="T28" fmla="*/ 1187 w 2107"/>
                <a:gd name="T29" fmla="*/ 728 h 1021"/>
                <a:gd name="T30" fmla="*/ 1322 w 2107"/>
                <a:gd name="T31" fmla="*/ 594 h 1021"/>
                <a:gd name="T32" fmla="*/ 1434 w 2107"/>
                <a:gd name="T33" fmla="*/ 482 h 1021"/>
                <a:gd name="T34" fmla="*/ 1535 w 2107"/>
                <a:gd name="T35" fmla="*/ 504 h 1021"/>
                <a:gd name="T36" fmla="*/ 1636 w 2107"/>
                <a:gd name="T37" fmla="*/ 639 h 1021"/>
                <a:gd name="T38" fmla="*/ 1681 w 2107"/>
                <a:gd name="T39" fmla="*/ 773 h 1021"/>
                <a:gd name="T40" fmla="*/ 1793 w 2107"/>
                <a:gd name="T41" fmla="*/ 829 h 1021"/>
                <a:gd name="T42" fmla="*/ 1849 w 2107"/>
                <a:gd name="T43" fmla="*/ 930 h 1021"/>
                <a:gd name="T44" fmla="*/ 2106 w 2107"/>
                <a:gd name="T45" fmla="*/ 482 h 1021"/>
                <a:gd name="T46" fmla="*/ 1927 w 2107"/>
                <a:gd name="T47" fmla="*/ 381 h 1021"/>
                <a:gd name="T48" fmla="*/ 1748 w 2107"/>
                <a:gd name="T49" fmla="*/ 314 h 1021"/>
                <a:gd name="T50" fmla="*/ 1681 w 2107"/>
                <a:gd name="T51" fmla="*/ 459 h 1021"/>
                <a:gd name="T52" fmla="*/ 1546 w 2107"/>
                <a:gd name="T53" fmla="*/ 437 h 1021"/>
                <a:gd name="T54" fmla="*/ 1423 w 2107"/>
                <a:gd name="T55" fmla="*/ 381 h 1021"/>
                <a:gd name="T56" fmla="*/ 1311 w 2107"/>
                <a:gd name="T57" fmla="*/ 291 h 1021"/>
                <a:gd name="T58" fmla="*/ 1165 w 2107"/>
                <a:gd name="T59" fmla="*/ 123 h 1021"/>
                <a:gd name="T60" fmla="*/ 1053 w 2107"/>
                <a:gd name="T61" fmla="*/ 11 h 1021"/>
                <a:gd name="T62" fmla="*/ 974 w 2107"/>
                <a:gd name="T63" fmla="*/ 22 h 1021"/>
                <a:gd name="T64" fmla="*/ 683 w 2107"/>
                <a:gd name="T65" fmla="*/ 179 h 1021"/>
                <a:gd name="T66" fmla="*/ 594 w 2107"/>
                <a:gd name="T67" fmla="*/ 235 h 1021"/>
                <a:gd name="T68" fmla="*/ 347 w 2107"/>
                <a:gd name="T69" fmla="*/ 224 h 1021"/>
                <a:gd name="T70" fmla="*/ 0 w 2107"/>
                <a:gd name="T71" fmla="*/ 39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07" h="1021">
                  <a:moveTo>
                    <a:pt x="22" y="527"/>
                  </a:moveTo>
                  <a:lnTo>
                    <a:pt x="22" y="527"/>
                  </a:lnTo>
                  <a:cubicBezTo>
                    <a:pt x="33" y="549"/>
                    <a:pt x="33" y="560"/>
                    <a:pt x="22" y="583"/>
                  </a:cubicBezTo>
                  <a:cubicBezTo>
                    <a:pt x="11" y="594"/>
                    <a:pt x="33" y="628"/>
                    <a:pt x="78" y="617"/>
                  </a:cubicBezTo>
                  <a:cubicBezTo>
                    <a:pt x="112" y="605"/>
                    <a:pt x="123" y="661"/>
                    <a:pt x="145" y="684"/>
                  </a:cubicBezTo>
                  <a:cubicBezTo>
                    <a:pt x="179" y="717"/>
                    <a:pt x="201" y="728"/>
                    <a:pt x="235" y="728"/>
                  </a:cubicBezTo>
                  <a:cubicBezTo>
                    <a:pt x="269" y="740"/>
                    <a:pt x="291" y="773"/>
                    <a:pt x="291" y="796"/>
                  </a:cubicBezTo>
                  <a:cubicBezTo>
                    <a:pt x="291" y="818"/>
                    <a:pt x="325" y="818"/>
                    <a:pt x="336" y="841"/>
                  </a:cubicBezTo>
                  <a:cubicBezTo>
                    <a:pt x="347" y="874"/>
                    <a:pt x="325" y="930"/>
                    <a:pt x="313" y="953"/>
                  </a:cubicBezTo>
                  <a:cubicBezTo>
                    <a:pt x="302" y="964"/>
                    <a:pt x="325" y="1020"/>
                    <a:pt x="347" y="1020"/>
                  </a:cubicBezTo>
                  <a:cubicBezTo>
                    <a:pt x="369" y="1008"/>
                    <a:pt x="381" y="986"/>
                    <a:pt x="381" y="964"/>
                  </a:cubicBezTo>
                  <a:cubicBezTo>
                    <a:pt x="392" y="930"/>
                    <a:pt x="425" y="908"/>
                    <a:pt x="436" y="863"/>
                  </a:cubicBezTo>
                  <a:cubicBezTo>
                    <a:pt x="448" y="807"/>
                    <a:pt x="470" y="818"/>
                    <a:pt x="470" y="784"/>
                  </a:cubicBezTo>
                  <a:cubicBezTo>
                    <a:pt x="481" y="762"/>
                    <a:pt x="504" y="740"/>
                    <a:pt x="526" y="717"/>
                  </a:cubicBezTo>
                  <a:cubicBezTo>
                    <a:pt x="549" y="684"/>
                    <a:pt x="504" y="684"/>
                    <a:pt x="492" y="661"/>
                  </a:cubicBezTo>
                  <a:cubicBezTo>
                    <a:pt x="481" y="628"/>
                    <a:pt x="504" y="538"/>
                    <a:pt x="526" y="515"/>
                  </a:cubicBezTo>
                  <a:cubicBezTo>
                    <a:pt x="560" y="493"/>
                    <a:pt x="616" y="493"/>
                    <a:pt x="638" y="504"/>
                  </a:cubicBezTo>
                  <a:cubicBezTo>
                    <a:pt x="649" y="527"/>
                    <a:pt x="661" y="560"/>
                    <a:pt x="683" y="560"/>
                  </a:cubicBezTo>
                  <a:cubicBezTo>
                    <a:pt x="705" y="560"/>
                    <a:pt x="717" y="572"/>
                    <a:pt x="717" y="594"/>
                  </a:cubicBezTo>
                  <a:cubicBezTo>
                    <a:pt x="705" y="617"/>
                    <a:pt x="739" y="639"/>
                    <a:pt x="739" y="639"/>
                  </a:cubicBezTo>
                  <a:cubicBezTo>
                    <a:pt x="739" y="639"/>
                    <a:pt x="739" y="773"/>
                    <a:pt x="750" y="773"/>
                  </a:cubicBezTo>
                  <a:cubicBezTo>
                    <a:pt x="761" y="773"/>
                    <a:pt x="773" y="784"/>
                    <a:pt x="773" y="807"/>
                  </a:cubicBezTo>
                  <a:cubicBezTo>
                    <a:pt x="784" y="829"/>
                    <a:pt x="818" y="829"/>
                    <a:pt x="863" y="818"/>
                  </a:cubicBezTo>
                  <a:cubicBezTo>
                    <a:pt x="896" y="818"/>
                    <a:pt x="896" y="841"/>
                    <a:pt x="885" y="874"/>
                  </a:cubicBezTo>
                  <a:cubicBezTo>
                    <a:pt x="874" y="897"/>
                    <a:pt x="941" y="897"/>
                    <a:pt x="941" y="930"/>
                  </a:cubicBezTo>
                  <a:cubicBezTo>
                    <a:pt x="941" y="953"/>
                    <a:pt x="986" y="941"/>
                    <a:pt x="986" y="930"/>
                  </a:cubicBezTo>
                  <a:cubicBezTo>
                    <a:pt x="986" y="908"/>
                    <a:pt x="997" y="852"/>
                    <a:pt x="1008" y="841"/>
                  </a:cubicBezTo>
                  <a:cubicBezTo>
                    <a:pt x="1031" y="841"/>
                    <a:pt x="1019" y="784"/>
                    <a:pt x="1042" y="784"/>
                  </a:cubicBezTo>
                  <a:cubicBezTo>
                    <a:pt x="1064" y="796"/>
                    <a:pt x="1087" y="784"/>
                    <a:pt x="1098" y="762"/>
                  </a:cubicBezTo>
                  <a:cubicBezTo>
                    <a:pt x="1098" y="728"/>
                    <a:pt x="1154" y="728"/>
                    <a:pt x="1187" y="728"/>
                  </a:cubicBezTo>
                  <a:cubicBezTo>
                    <a:pt x="1210" y="728"/>
                    <a:pt x="1210" y="672"/>
                    <a:pt x="1221" y="661"/>
                  </a:cubicBezTo>
                  <a:cubicBezTo>
                    <a:pt x="1243" y="639"/>
                    <a:pt x="1300" y="617"/>
                    <a:pt x="1322" y="594"/>
                  </a:cubicBezTo>
                  <a:cubicBezTo>
                    <a:pt x="1356" y="560"/>
                    <a:pt x="1367" y="538"/>
                    <a:pt x="1378" y="538"/>
                  </a:cubicBezTo>
                  <a:cubicBezTo>
                    <a:pt x="1400" y="538"/>
                    <a:pt x="1412" y="493"/>
                    <a:pt x="1434" y="482"/>
                  </a:cubicBezTo>
                  <a:cubicBezTo>
                    <a:pt x="1456" y="471"/>
                    <a:pt x="1467" y="538"/>
                    <a:pt x="1479" y="515"/>
                  </a:cubicBezTo>
                  <a:cubicBezTo>
                    <a:pt x="1479" y="482"/>
                    <a:pt x="1501" y="504"/>
                    <a:pt x="1535" y="504"/>
                  </a:cubicBezTo>
                  <a:cubicBezTo>
                    <a:pt x="1557" y="515"/>
                    <a:pt x="1591" y="572"/>
                    <a:pt x="1580" y="605"/>
                  </a:cubicBezTo>
                  <a:cubicBezTo>
                    <a:pt x="1569" y="628"/>
                    <a:pt x="1602" y="639"/>
                    <a:pt x="1636" y="639"/>
                  </a:cubicBezTo>
                  <a:cubicBezTo>
                    <a:pt x="1658" y="628"/>
                    <a:pt x="1703" y="684"/>
                    <a:pt x="1681" y="695"/>
                  </a:cubicBezTo>
                  <a:cubicBezTo>
                    <a:pt x="1658" y="706"/>
                    <a:pt x="1703" y="740"/>
                    <a:pt x="1681" y="773"/>
                  </a:cubicBezTo>
                  <a:cubicBezTo>
                    <a:pt x="1669" y="796"/>
                    <a:pt x="1692" y="829"/>
                    <a:pt x="1714" y="807"/>
                  </a:cubicBezTo>
                  <a:cubicBezTo>
                    <a:pt x="1748" y="796"/>
                    <a:pt x="1770" y="841"/>
                    <a:pt x="1793" y="829"/>
                  </a:cubicBezTo>
                  <a:cubicBezTo>
                    <a:pt x="1815" y="818"/>
                    <a:pt x="1815" y="863"/>
                    <a:pt x="1849" y="863"/>
                  </a:cubicBezTo>
                  <a:cubicBezTo>
                    <a:pt x="1882" y="852"/>
                    <a:pt x="1849" y="930"/>
                    <a:pt x="1849" y="930"/>
                  </a:cubicBezTo>
                  <a:cubicBezTo>
                    <a:pt x="2106" y="919"/>
                    <a:pt x="2106" y="919"/>
                    <a:pt x="2106" y="919"/>
                  </a:cubicBezTo>
                  <a:cubicBezTo>
                    <a:pt x="2106" y="482"/>
                    <a:pt x="2106" y="482"/>
                    <a:pt x="2106" y="482"/>
                  </a:cubicBezTo>
                  <a:cubicBezTo>
                    <a:pt x="2095" y="403"/>
                    <a:pt x="2095" y="403"/>
                    <a:pt x="2095" y="403"/>
                  </a:cubicBezTo>
                  <a:cubicBezTo>
                    <a:pt x="2095" y="403"/>
                    <a:pt x="1949" y="415"/>
                    <a:pt x="1927" y="381"/>
                  </a:cubicBezTo>
                  <a:cubicBezTo>
                    <a:pt x="1916" y="348"/>
                    <a:pt x="1882" y="359"/>
                    <a:pt x="1849" y="359"/>
                  </a:cubicBezTo>
                  <a:cubicBezTo>
                    <a:pt x="1826" y="370"/>
                    <a:pt x="1793" y="314"/>
                    <a:pt x="1748" y="314"/>
                  </a:cubicBezTo>
                  <a:cubicBezTo>
                    <a:pt x="1703" y="325"/>
                    <a:pt x="1681" y="314"/>
                    <a:pt x="1681" y="314"/>
                  </a:cubicBezTo>
                  <a:cubicBezTo>
                    <a:pt x="1681" y="459"/>
                    <a:pt x="1681" y="459"/>
                    <a:pt x="1681" y="459"/>
                  </a:cubicBezTo>
                  <a:cubicBezTo>
                    <a:pt x="1681" y="459"/>
                    <a:pt x="1647" y="482"/>
                    <a:pt x="1625" y="459"/>
                  </a:cubicBezTo>
                  <a:cubicBezTo>
                    <a:pt x="1602" y="448"/>
                    <a:pt x="1580" y="437"/>
                    <a:pt x="1546" y="437"/>
                  </a:cubicBezTo>
                  <a:cubicBezTo>
                    <a:pt x="1501" y="437"/>
                    <a:pt x="1501" y="437"/>
                    <a:pt x="1490" y="415"/>
                  </a:cubicBezTo>
                  <a:cubicBezTo>
                    <a:pt x="1490" y="381"/>
                    <a:pt x="1434" y="426"/>
                    <a:pt x="1423" y="381"/>
                  </a:cubicBezTo>
                  <a:cubicBezTo>
                    <a:pt x="1400" y="348"/>
                    <a:pt x="1378" y="370"/>
                    <a:pt x="1356" y="370"/>
                  </a:cubicBezTo>
                  <a:cubicBezTo>
                    <a:pt x="1333" y="370"/>
                    <a:pt x="1322" y="303"/>
                    <a:pt x="1311" y="291"/>
                  </a:cubicBezTo>
                  <a:cubicBezTo>
                    <a:pt x="1300" y="269"/>
                    <a:pt x="1277" y="123"/>
                    <a:pt x="1277" y="123"/>
                  </a:cubicBezTo>
                  <a:cubicBezTo>
                    <a:pt x="1277" y="123"/>
                    <a:pt x="1210" y="123"/>
                    <a:pt x="1165" y="123"/>
                  </a:cubicBezTo>
                  <a:cubicBezTo>
                    <a:pt x="1131" y="123"/>
                    <a:pt x="1109" y="90"/>
                    <a:pt x="1098" y="56"/>
                  </a:cubicBezTo>
                  <a:cubicBezTo>
                    <a:pt x="1098" y="22"/>
                    <a:pt x="1087" y="22"/>
                    <a:pt x="1053" y="11"/>
                  </a:cubicBezTo>
                  <a:cubicBezTo>
                    <a:pt x="1042" y="11"/>
                    <a:pt x="1031" y="0"/>
                    <a:pt x="1019" y="0"/>
                  </a:cubicBezTo>
                  <a:cubicBezTo>
                    <a:pt x="1008" y="0"/>
                    <a:pt x="986" y="11"/>
                    <a:pt x="974" y="22"/>
                  </a:cubicBezTo>
                  <a:cubicBezTo>
                    <a:pt x="930" y="34"/>
                    <a:pt x="840" y="90"/>
                    <a:pt x="807" y="135"/>
                  </a:cubicBezTo>
                  <a:cubicBezTo>
                    <a:pt x="773" y="168"/>
                    <a:pt x="705" y="179"/>
                    <a:pt x="683" y="179"/>
                  </a:cubicBezTo>
                  <a:cubicBezTo>
                    <a:pt x="649" y="190"/>
                    <a:pt x="672" y="258"/>
                    <a:pt x="627" y="280"/>
                  </a:cubicBezTo>
                  <a:cubicBezTo>
                    <a:pt x="594" y="291"/>
                    <a:pt x="571" y="246"/>
                    <a:pt x="594" y="235"/>
                  </a:cubicBezTo>
                  <a:cubicBezTo>
                    <a:pt x="616" y="213"/>
                    <a:pt x="582" y="202"/>
                    <a:pt x="526" y="202"/>
                  </a:cubicBezTo>
                  <a:cubicBezTo>
                    <a:pt x="470" y="202"/>
                    <a:pt x="392" y="190"/>
                    <a:pt x="347" y="224"/>
                  </a:cubicBezTo>
                  <a:cubicBezTo>
                    <a:pt x="302" y="258"/>
                    <a:pt x="235" y="269"/>
                    <a:pt x="167" y="291"/>
                  </a:cubicBezTo>
                  <a:cubicBezTo>
                    <a:pt x="100" y="314"/>
                    <a:pt x="33" y="359"/>
                    <a:pt x="0" y="392"/>
                  </a:cubicBezTo>
                  <a:cubicBezTo>
                    <a:pt x="33" y="426"/>
                    <a:pt x="11" y="504"/>
                    <a:pt x="22" y="52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5" name="Freeform 29"/>
            <p:cNvSpPr>
              <a:spLocks noChangeArrowheads="1"/>
            </p:cNvSpPr>
            <p:nvPr/>
          </p:nvSpPr>
          <p:spPr bwMode="auto">
            <a:xfrm>
              <a:off x="6705166" y="4169285"/>
              <a:ext cx="1196929" cy="1283035"/>
            </a:xfrm>
            <a:custGeom>
              <a:avLst/>
              <a:gdLst>
                <a:gd name="T0" fmla="*/ 191 w 3453"/>
                <a:gd name="T1" fmla="*/ 952 h 3699"/>
                <a:gd name="T2" fmla="*/ 281 w 3453"/>
                <a:gd name="T3" fmla="*/ 1143 h 3699"/>
                <a:gd name="T4" fmla="*/ 135 w 3453"/>
                <a:gd name="T5" fmla="*/ 1210 h 3699"/>
                <a:gd name="T6" fmla="*/ 68 w 3453"/>
                <a:gd name="T7" fmla="*/ 1378 h 3699"/>
                <a:gd name="T8" fmla="*/ 213 w 3453"/>
                <a:gd name="T9" fmla="*/ 1457 h 3699"/>
                <a:gd name="T10" fmla="*/ 460 w 3453"/>
                <a:gd name="T11" fmla="*/ 1378 h 3699"/>
                <a:gd name="T12" fmla="*/ 617 w 3453"/>
                <a:gd name="T13" fmla="*/ 1188 h 3699"/>
                <a:gd name="T14" fmla="*/ 729 w 3453"/>
                <a:gd name="T15" fmla="*/ 1434 h 3699"/>
                <a:gd name="T16" fmla="*/ 639 w 3453"/>
                <a:gd name="T17" fmla="*/ 1603 h 3699"/>
                <a:gd name="T18" fmla="*/ 830 w 3453"/>
                <a:gd name="T19" fmla="*/ 1591 h 3699"/>
                <a:gd name="T20" fmla="*/ 986 w 3453"/>
                <a:gd name="T21" fmla="*/ 1703 h 3699"/>
                <a:gd name="T22" fmla="*/ 897 w 3453"/>
                <a:gd name="T23" fmla="*/ 1983 h 3699"/>
                <a:gd name="T24" fmla="*/ 930 w 3453"/>
                <a:gd name="T25" fmla="*/ 2174 h 3699"/>
                <a:gd name="T26" fmla="*/ 1132 w 3453"/>
                <a:gd name="T27" fmla="*/ 2230 h 3699"/>
                <a:gd name="T28" fmla="*/ 1054 w 3453"/>
                <a:gd name="T29" fmla="*/ 2331 h 3699"/>
                <a:gd name="T30" fmla="*/ 953 w 3453"/>
                <a:gd name="T31" fmla="*/ 2488 h 3699"/>
                <a:gd name="T32" fmla="*/ 941 w 3453"/>
                <a:gd name="T33" fmla="*/ 2667 h 3699"/>
                <a:gd name="T34" fmla="*/ 1132 w 3453"/>
                <a:gd name="T35" fmla="*/ 2790 h 3699"/>
                <a:gd name="T36" fmla="*/ 1368 w 3453"/>
                <a:gd name="T37" fmla="*/ 2846 h 3699"/>
                <a:gd name="T38" fmla="*/ 1491 w 3453"/>
                <a:gd name="T39" fmla="*/ 2734 h 3699"/>
                <a:gd name="T40" fmla="*/ 1692 w 3453"/>
                <a:gd name="T41" fmla="*/ 3037 h 3699"/>
                <a:gd name="T42" fmla="*/ 1984 w 3453"/>
                <a:gd name="T43" fmla="*/ 3138 h 3699"/>
                <a:gd name="T44" fmla="*/ 1939 w 3453"/>
                <a:gd name="T45" fmla="*/ 3362 h 3699"/>
                <a:gd name="T46" fmla="*/ 2174 w 3453"/>
                <a:gd name="T47" fmla="*/ 3452 h 3699"/>
                <a:gd name="T48" fmla="*/ 2331 w 3453"/>
                <a:gd name="T49" fmla="*/ 3295 h 3699"/>
                <a:gd name="T50" fmla="*/ 2387 w 3453"/>
                <a:gd name="T51" fmla="*/ 3429 h 3699"/>
                <a:gd name="T52" fmla="*/ 2499 w 3453"/>
                <a:gd name="T53" fmla="*/ 3575 h 3699"/>
                <a:gd name="T54" fmla="*/ 3306 w 3453"/>
                <a:gd name="T55" fmla="*/ 3687 h 3699"/>
                <a:gd name="T56" fmla="*/ 3430 w 3453"/>
                <a:gd name="T57" fmla="*/ 3563 h 3699"/>
                <a:gd name="T58" fmla="*/ 3396 w 3453"/>
                <a:gd name="T59" fmla="*/ 3351 h 3699"/>
                <a:gd name="T60" fmla="*/ 3183 w 3453"/>
                <a:gd name="T61" fmla="*/ 3172 h 3699"/>
                <a:gd name="T62" fmla="*/ 3105 w 3453"/>
                <a:gd name="T63" fmla="*/ 2947 h 3699"/>
                <a:gd name="T64" fmla="*/ 2757 w 3453"/>
                <a:gd name="T65" fmla="*/ 2958 h 3699"/>
                <a:gd name="T66" fmla="*/ 2544 w 3453"/>
                <a:gd name="T67" fmla="*/ 2723 h 3699"/>
                <a:gd name="T68" fmla="*/ 1984 w 3453"/>
                <a:gd name="T69" fmla="*/ 2622 h 3699"/>
                <a:gd name="T70" fmla="*/ 1793 w 3453"/>
                <a:gd name="T71" fmla="*/ 2409 h 3699"/>
                <a:gd name="T72" fmla="*/ 1502 w 3453"/>
                <a:gd name="T73" fmla="*/ 2039 h 3699"/>
                <a:gd name="T74" fmla="*/ 1043 w 3453"/>
                <a:gd name="T75" fmla="*/ 1401 h 3699"/>
                <a:gd name="T76" fmla="*/ 717 w 3453"/>
                <a:gd name="T77" fmla="*/ 796 h 3699"/>
                <a:gd name="T78" fmla="*/ 572 w 3453"/>
                <a:gd name="T79" fmla="*/ 459 h 3699"/>
                <a:gd name="T80" fmla="*/ 460 w 3453"/>
                <a:gd name="T81" fmla="*/ 190 h 3699"/>
                <a:gd name="T82" fmla="*/ 325 w 3453"/>
                <a:gd name="T83" fmla="*/ 112 h 3699"/>
                <a:gd name="T84" fmla="*/ 68 w 3453"/>
                <a:gd name="T85" fmla="*/ 79 h 3699"/>
                <a:gd name="T86" fmla="*/ 157 w 3453"/>
                <a:gd name="T87" fmla="*/ 190 h 3699"/>
                <a:gd name="T88" fmla="*/ 101 w 3453"/>
                <a:gd name="T89" fmla="*/ 538 h 3699"/>
                <a:gd name="T90" fmla="*/ 90 w 3453"/>
                <a:gd name="T91" fmla="*/ 784 h 3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53" h="3699">
                  <a:moveTo>
                    <a:pt x="112" y="896"/>
                  </a:moveTo>
                  <a:lnTo>
                    <a:pt x="112" y="896"/>
                  </a:lnTo>
                  <a:cubicBezTo>
                    <a:pt x="112" y="930"/>
                    <a:pt x="146" y="952"/>
                    <a:pt x="191" y="952"/>
                  </a:cubicBezTo>
                  <a:cubicBezTo>
                    <a:pt x="247" y="952"/>
                    <a:pt x="269" y="930"/>
                    <a:pt x="292" y="952"/>
                  </a:cubicBezTo>
                  <a:cubicBezTo>
                    <a:pt x="314" y="975"/>
                    <a:pt x="336" y="1020"/>
                    <a:pt x="325" y="1053"/>
                  </a:cubicBezTo>
                  <a:cubicBezTo>
                    <a:pt x="314" y="1098"/>
                    <a:pt x="281" y="1110"/>
                    <a:pt x="281" y="1143"/>
                  </a:cubicBezTo>
                  <a:cubicBezTo>
                    <a:pt x="269" y="1177"/>
                    <a:pt x="269" y="1210"/>
                    <a:pt x="247" y="1233"/>
                  </a:cubicBezTo>
                  <a:cubicBezTo>
                    <a:pt x="224" y="1266"/>
                    <a:pt x="213" y="1233"/>
                    <a:pt x="213" y="1188"/>
                  </a:cubicBezTo>
                  <a:cubicBezTo>
                    <a:pt x="213" y="1154"/>
                    <a:pt x="146" y="1154"/>
                    <a:pt x="135" y="1210"/>
                  </a:cubicBezTo>
                  <a:cubicBezTo>
                    <a:pt x="123" y="1266"/>
                    <a:pt x="112" y="1221"/>
                    <a:pt x="79" y="1244"/>
                  </a:cubicBezTo>
                  <a:cubicBezTo>
                    <a:pt x="34" y="1266"/>
                    <a:pt x="101" y="1289"/>
                    <a:pt x="123" y="1300"/>
                  </a:cubicBezTo>
                  <a:cubicBezTo>
                    <a:pt x="146" y="1311"/>
                    <a:pt x="112" y="1367"/>
                    <a:pt x="68" y="1378"/>
                  </a:cubicBezTo>
                  <a:cubicBezTo>
                    <a:pt x="23" y="1390"/>
                    <a:pt x="56" y="1468"/>
                    <a:pt x="68" y="1501"/>
                  </a:cubicBezTo>
                  <a:cubicBezTo>
                    <a:pt x="79" y="1546"/>
                    <a:pt x="123" y="1546"/>
                    <a:pt x="146" y="1524"/>
                  </a:cubicBezTo>
                  <a:cubicBezTo>
                    <a:pt x="168" y="1490"/>
                    <a:pt x="179" y="1468"/>
                    <a:pt x="213" y="1457"/>
                  </a:cubicBezTo>
                  <a:cubicBezTo>
                    <a:pt x="247" y="1457"/>
                    <a:pt x="292" y="1423"/>
                    <a:pt x="314" y="1390"/>
                  </a:cubicBezTo>
                  <a:cubicBezTo>
                    <a:pt x="348" y="1356"/>
                    <a:pt x="359" y="1322"/>
                    <a:pt x="381" y="1334"/>
                  </a:cubicBezTo>
                  <a:cubicBezTo>
                    <a:pt x="415" y="1345"/>
                    <a:pt x="437" y="1390"/>
                    <a:pt x="460" y="1378"/>
                  </a:cubicBezTo>
                  <a:cubicBezTo>
                    <a:pt x="482" y="1378"/>
                    <a:pt x="505" y="1322"/>
                    <a:pt x="493" y="1289"/>
                  </a:cubicBezTo>
                  <a:cubicBezTo>
                    <a:pt x="482" y="1266"/>
                    <a:pt x="516" y="1188"/>
                    <a:pt x="538" y="1165"/>
                  </a:cubicBezTo>
                  <a:cubicBezTo>
                    <a:pt x="549" y="1154"/>
                    <a:pt x="605" y="1154"/>
                    <a:pt x="617" y="1188"/>
                  </a:cubicBezTo>
                  <a:cubicBezTo>
                    <a:pt x="639" y="1233"/>
                    <a:pt x="617" y="1300"/>
                    <a:pt x="605" y="1334"/>
                  </a:cubicBezTo>
                  <a:cubicBezTo>
                    <a:pt x="594" y="1367"/>
                    <a:pt x="695" y="1378"/>
                    <a:pt x="729" y="1378"/>
                  </a:cubicBezTo>
                  <a:cubicBezTo>
                    <a:pt x="762" y="1367"/>
                    <a:pt x="751" y="1401"/>
                    <a:pt x="729" y="1434"/>
                  </a:cubicBezTo>
                  <a:cubicBezTo>
                    <a:pt x="706" y="1468"/>
                    <a:pt x="706" y="1479"/>
                    <a:pt x="695" y="1479"/>
                  </a:cubicBezTo>
                  <a:cubicBezTo>
                    <a:pt x="673" y="1479"/>
                    <a:pt x="650" y="1446"/>
                    <a:pt x="617" y="1446"/>
                  </a:cubicBezTo>
                  <a:cubicBezTo>
                    <a:pt x="583" y="1446"/>
                    <a:pt x="628" y="1569"/>
                    <a:pt x="639" y="1603"/>
                  </a:cubicBezTo>
                  <a:cubicBezTo>
                    <a:pt x="650" y="1636"/>
                    <a:pt x="695" y="1647"/>
                    <a:pt x="729" y="1670"/>
                  </a:cubicBezTo>
                  <a:cubicBezTo>
                    <a:pt x="751" y="1692"/>
                    <a:pt x="774" y="1681"/>
                    <a:pt x="785" y="1647"/>
                  </a:cubicBezTo>
                  <a:cubicBezTo>
                    <a:pt x="796" y="1625"/>
                    <a:pt x="807" y="1603"/>
                    <a:pt x="830" y="1591"/>
                  </a:cubicBezTo>
                  <a:cubicBezTo>
                    <a:pt x="841" y="1580"/>
                    <a:pt x="863" y="1603"/>
                    <a:pt x="886" y="1625"/>
                  </a:cubicBezTo>
                  <a:cubicBezTo>
                    <a:pt x="908" y="1636"/>
                    <a:pt x="953" y="1625"/>
                    <a:pt x="986" y="1647"/>
                  </a:cubicBezTo>
                  <a:cubicBezTo>
                    <a:pt x="1020" y="1670"/>
                    <a:pt x="1020" y="1692"/>
                    <a:pt x="986" y="1703"/>
                  </a:cubicBezTo>
                  <a:cubicBezTo>
                    <a:pt x="964" y="1714"/>
                    <a:pt x="964" y="1726"/>
                    <a:pt x="964" y="1759"/>
                  </a:cubicBezTo>
                  <a:cubicBezTo>
                    <a:pt x="953" y="1782"/>
                    <a:pt x="930" y="1815"/>
                    <a:pt x="908" y="1849"/>
                  </a:cubicBezTo>
                  <a:cubicBezTo>
                    <a:pt x="897" y="1894"/>
                    <a:pt x="908" y="1950"/>
                    <a:pt x="897" y="1983"/>
                  </a:cubicBezTo>
                  <a:cubicBezTo>
                    <a:pt x="897" y="2017"/>
                    <a:pt x="852" y="1995"/>
                    <a:pt x="852" y="2017"/>
                  </a:cubicBezTo>
                  <a:cubicBezTo>
                    <a:pt x="841" y="2051"/>
                    <a:pt x="841" y="2096"/>
                    <a:pt x="874" y="2118"/>
                  </a:cubicBezTo>
                  <a:cubicBezTo>
                    <a:pt x="908" y="2141"/>
                    <a:pt x="897" y="2174"/>
                    <a:pt x="930" y="2174"/>
                  </a:cubicBezTo>
                  <a:cubicBezTo>
                    <a:pt x="975" y="2174"/>
                    <a:pt x="975" y="2174"/>
                    <a:pt x="986" y="2208"/>
                  </a:cubicBezTo>
                  <a:cubicBezTo>
                    <a:pt x="998" y="2241"/>
                    <a:pt x="1065" y="2241"/>
                    <a:pt x="1087" y="2219"/>
                  </a:cubicBezTo>
                  <a:cubicBezTo>
                    <a:pt x="1121" y="2196"/>
                    <a:pt x="1121" y="2208"/>
                    <a:pt x="1132" y="2230"/>
                  </a:cubicBezTo>
                  <a:cubicBezTo>
                    <a:pt x="1132" y="2264"/>
                    <a:pt x="1143" y="2275"/>
                    <a:pt x="1121" y="2297"/>
                  </a:cubicBezTo>
                  <a:cubicBezTo>
                    <a:pt x="1087" y="2320"/>
                    <a:pt x="1121" y="2331"/>
                    <a:pt x="1110" y="2353"/>
                  </a:cubicBezTo>
                  <a:cubicBezTo>
                    <a:pt x="1099" y="2365"/>
                    <a:pt x="1076" y="2365"/>
                    <a:pt x="1054" y="2331"/>
                  </a:cubicBezTo>
                  <a:cubicBezTo>
                    <a:pt x="1031" y="2308"/>
                    <a:pt x="1009" y="2342"/>
                    <a:pt x="1009" y="2365"/>
                  </a:cubicBezTo>
                  <a:cubicBezTo>
                    <a:pt x="998" y="2398"/>
                    <a:pt x="998" y="2409"/>
                    <a:pt x="964" y="2421"/>
                  </a:cubicBezTo>
                  <a:cubicBezTo>
                    <a:pt x="941" y="2432"/>
                    <a:pt x="941" y="2465"/>
                    <a:pt x="953" y="2488"/>
                  </a:cubicBezTo>
                  <a:cubicBezTo>
                    <a:pt x="975" y="2510"/>
                    <a:pt x="975" y="2521"/>
                    <a:pt x="953" y="2532"/>
                  </a:cubicBezTo>
                  <a:cubicBezTo>
                    <a:pt x="930" y="2532"/>
                    <a:pt x="953" y="2577"/>
                    <a:pt x="941" y="2589"/>
                  </a:cubicBezTo>
                  <a:cubicBezTo>
                    <a:pt x="919" y="2600"/>
                    <a:pt x="919" y="2634"/>
                    <a:pt x="941" y="2667"/>
                  </a:cubicBezTo>
                  <a:cubicBezTo>
                    <a:pt x="953" y="2701"/>
                    <a:pt x="975" y="2723"/>
                    <a:pt x="1020" y="2712"/>
                  </a:cubicBezTo>
                  <a:cubicBezTo>
                    <a:pt x="1054" y="2701"/>
                    <a:pt x="1065" y="2768"/>
                    <a:pt x="1076" y="2801"/>
                  </a:cubicBezTo>
                  <a:cubicBezTo>
                    <a:pt x="1087" y="2835"/>
                    <a:pt x="1110" y="2824"/>
                    <a:pt x="1132" y="2790"/>
                  </a:cubicBezTo>
                  <a:cubicBezTo>
                    <a:pt x="1166" y="2757"/>
                    <a:pt x="1199" y="2768"/>
                    <a:pt x="1233" y="2790"/>
                  </a:cubicBezTo>
                  <a:cubicBezTo>
                    <a:pt x="1267" y="2813"/>
                    <a:pt x="1312" y="2835"/>
                    <a:pt x="1312" y="2869"/>
                  </a:cubicBezTo>
                  <a:cubicBezTo>
                    <a:pt x="1312" y="2891"/>
                    <a:pt x="1345" y="2880"/>
                    <a:pt x="1368" y="2846"/>
                  </a:cubicBezTo>
                  <a:cubicBezTo>
                    <a:pt x="1390" y="2813"/>
                    <a:pt x="1379" y="2734"/>
                    <a:pt x="1356" y="2712"/>
                  </a:cubicBezTo>
                  <a:cubicBezTo>
                    <a:pt x="1334" y="2678"/>
                    <a:pt x="1345" y="2656"/>
                    <a:pt x="1368" y="2656"/>
                  </a:cubicBezTo>
                  <a:cubicBezTo>
                    <a:pt x="1401" y="2645"/>
                    <a:pt x="1401" y="2667"/>
                    <a:pt x="1491" y="2734"/>
                  </a:cubicBezTo>
                  <a:cubicBezTo>
                    <a:pt x="1581" y="2813"/>
                    <a:pt x="1569" y="2835"/>
                    <a:pt x="1581" y="2869"/>
                  </a:cubicBezTo>
                  <a:cubicBezTo>
                    <a:pt x="1592" y="2903"/>
                    <a:pt x="1614" y="2914"/>
                    <a:pt x="1648" y="2936"/>
                  </a:cubicBezTo>
                  <a:cubicBezTo>
                    <a:pt x="1681" y="2970"/>
                    <a:pt x="1681" y="3014"/>
                    <a:pt x="1692" y="3037"/>
                  </a:cubicBezTo>
                  <a:cubicBezTo>
                    <a:pt x="1715" y="3048"/>
                    <a:pt x="1760" y="3026"/>
                    <a:pt x="1805" y="3037"/>
                  </a:cubicBezTo>
                  <a:cubicBezTo>
                    <a:pt x="1838" y="3048"/>
                    <a:pt x="1894" y="3026"/>
                    <a:pt x="1917" y="3014"/>
                  </a:cubicBezTo>
                  <a:cubicBezTo>
                    <a:pt x="1939" y="3003"/>
                    <a:pt x="1961" y="3093"/>
                    <a:pt x="1984" y="3138"/>
                  </a:cubicBezTo>
                  <a:cubicBezTo>
                    <a:pt x="1995" y="3183"/>
                    <a:pt x="1973" y="3227"/>
                    <a:pt x="1950" y="3227"/>
                  </a:cubicBezTo>
                  <a:cubicBezTo>
                    <a:pt x="1928" y="3227"/>
                    <a:pt x="1950" y="3295"/>
                    <a:pt x="1917" y="3306"/>
                  </a:cubicBezTo>
                  <a:cubicBezTo>
                    <a:pt x="1894" y="3317"/>
                    <a:pt x="1905" y="3351"/>
                    <a:pt x="1939" y="3362"/>
                  </a:cubicBezTo>
                  <a:cubicBezTo>
                    <a:pt x="1973" y="3373"/>
                    <a:pt x="2017" y="3418"/>
                    <a:pt x="2029" y="3440"/>
                  </a:cubicBezTo>
                  <a:cubicBezTo>
                    <a:pt x="2051" y="3474"/>
                    <a:pt x="2085" y="3463"/>
                    <a:pt x="2118" y="3463"/>
                  </a:cubicBezTo>
                  <a:cubicBezTo>
                    <a:pt x="2152" y="3463"/>
                    <a:pt x="2152" y="3474"/>
                    <a:pt x="2174" y="3452"/>
                  </a:cubicBezTo>
                  <a:cubicBezTo>
                    <a:pt x="2197" y="3440"/>
                    <a:pt x="2197" y="3407"/>
                    <a:pt x="2219" y="3407"/>
                  </a:cubicBezTo>
                  <a:cubicBezTo>
                    <a:pt x="2241" y="3396"/>
                    <a:pt x="2275" y="3373"/>
                    <a:pt x="2286" y="3351"/>
                  </a:cubicBezTo>
                  <a:cubicBezTo>
                    <a:pt x="2286" y="3317"/>
                    <a:pt x="2298" y="3283"/>
                    <a:pt x="2331" y="3295"/>
                  </a:cubicBezTo>
                  <a:cubicBezTo>
                    <a:pt x="2354" y="3295"/>
                    <a:pt x="2365" y="3272"/>
                    <a:pt x="2387" y="3272"/>
                  </a:cubicBezTo>
                  <a:cubicBezTo>
                    <a:pt x="2410" y="3272"/>
                    <a:pt x="2410" y="3373"/>
                    <a:pt x="2387" y="3384"/>
                  </a:cubicBezTo>
                  <a:cubicBezTo>
                    <a:pt x="2376" y="3396"/>
                    <a:pt x="2365" y="3429"/>
                    <a:pt x="2387" y="3429"/>
                  </a:cubicBezTo>
                  <a:cubicBezTo>
                    <a:pt x="2421" y="3429"/>
                    <a:pt x="2432" y="3429"/>
                    <a:pt x="2421" y="3463"/>
                  </a:cubicBezTo>
                  <a:cubicBezTo>
                    <a:pt x="2421" y="3496"/>
                    <a:pt x="2432" y="3552"/>
                    <a:pt x="2443" y="3541"/>
                  </a:cubicBezTo>
                  <a:cubicBezTo>
                    <a:pt x="2466" y="3541"/>
                    <a:pt x="2488" y="3552"/>
                    <a:pt x="2499" y="3575"/>
                  </a:cubicBezTo>
                  <a:cubicBezTo>
                    <a:pt x="2510" y="3586"/>
                    <a:pt x="2612" y="3586"/>
                    <a:pt x="2612" y="3586"/>
                  </a:cubicBezTo>
                  <a:cubicBezTo>
                    <a:pt x="2612" y="3698"/>
                    <a:pt x="2612" y="3698"/>
                    <a:pt x="2612" y="3698"/>
                  </a:cubicBezTo>
                  <a:cubicBezTo>
                    <a:pt x="3306" y="3687"/>
                    <a:pt x="3306" y="3687"/>
                    <a:pt x="3306" y="3687"/>
                  </a:cubicBezTo>
                  <a:cubicBezTo>
                    <a:pt x="3306" y="3687"/>
                    <a:pt x="3340" y="3676"/>
                    <a:pt x="3351" y="3642"/>
                  </a:cubicBezTo>
                  <a:cubicBezTo>
                    <a:pt x="3351" y="3608"/>
                    <a:pt x="3385" y="3608"/>
                    <a:pt x="3418" y="3597"/>
                  </a:cubicBezTo>
                  <a:cubicBezTo>
                    <a:pt x="3430" y="3597"/>
                    <a:pt x="3430" y="3586"/>
                    <a:pt x="3430" y="3563"/>
                  </a:cubicBezTo>
                  <a:cubicBezTo>
                    <a:pt x="3418" y="3552"/>
                    <a:pt x="3407" y="3519"/>
                    <a:pt x="3418" y="3508"/>
                  </a:cubicBezTo>
                  <a:cubicBezTo>
                    <a:pt x="3430" y="3485"/>
                    <a:pt x="3452" y="3429"/>
                    <a:pt x="3441" y="3396"/>
                  </a:cubicBezTo>
                  <a:cubicBezTo>
                    <a:pt x="3430" y="3373"/>
                    <a:pt x="3396" y="3373"/>
                    <a:pt x="3396" y="3351"/>
                  </a:cubicBezTo>
                  <a:cubicBezTo>
                    <a:pt x="3396" y="3328"/>
                    <a:pt x="3374" y="3295"/>
                    <a:pt x="3340" y="3283"/>
                  </a:cubicBezTo>
                  <a:cubicBezTo>
                    <a:pt x="3306" y="3283"/>
                    <a:pt x="3284" y="3272"/>
                    <a:pt x="3250" y="3239"/>
                  </a:cubicBezTo>
                  <a:cubicBezTo>
                    <a:pt x="3228" y="3216"/>
                    <a:pt x="3217" y="3160"/>
                    <a:pt x="3183" y="3172"/>
                  </a:cubicBezTo>
                  <a:cubicBezTo>
                    <a:pt x="3138" y="3183"/>
                    <a:pt x="3116" y="3149"/>
                    <a:pt x="3127" y="3138"/>
                  </a:cubicBezTo>
                  <a:cubicBezTo>
                    <a:pt x="3138" y="3115"/>
                    <a:pt x="3138" y="3104"/>
                    <a:pt x="3127" y="3082"/>
                  </a:cubicBezTo>
                  <a:cubicBezTo>
                    <a:pt x="3116" y="3059"/>
                    <a:pt x="3138" y="2981"/>
                    <a:pt x="3105" y="2947"/>
                  </a:cubicBezTo>
                  <a:cubicBezTo>
                    <a:pt x="3071" y="2970"/>
                    <a:pt x="2992" y="2992"/>
                    <a:pt x="2959" y="2992"/>
                  </a:cubicBezTo>
                  <a:cubicBezTo>
                    <a:pt x="2925" y="2992"/>
                    <a:pt x="2892" y="2981"/>
                    <a:pt x="2869" y="3003"/>
                  </a:cubicBezTo>
                  <a:cubicBezTo>
                    <a:pt x="2847" y="3014"/>
                    <a:pt x="2779" y="3014"/>
                    <a:pt x="2757" y="2958"/>
                  </a:cubicBezTo>
                  <a:cubicBezTo>
                    <a:pt x="2735" y="2903"/>
                    <a:pt x="2712" y="2858"/>
                    <a:pt x="2690" y="2846"/>
                  </a:cubicBezTo>
                  <a:cubicBezTo>
                    <a:pt x="2668" y="2835"/>
                    <a:pt x="2634" y="2790"/>
                    <a:pt x="2612" y="2757"/>
                  </a:cubicBezTo>
                  <a:cubicBezTo>
                    <a:pt x="2600" y="2734"/>
                    <a:pt x="2578" y="2712"/>
                    <a:pt x="2544" y="2723"/>
                  </a:cubicBezTo>
                  <a:cubicBezTo>
                    <a:pt x="2499" y="2723"/>
                    <a:pt x="2477" y="2712"/>
                    <a:pt x="2443" y="2678"/>
                  </a:cubicBezTo>
                  <a:cubicBezTo>
                    <a:pt x="2410" y="2634"/>
                    <a:pt x="2410" y="2611"/>
                    <a:pt x="2309" y="2611"/>
                  </a:cubicBezTo>
                  <a:cubicBezTo>
                    <a:pt x="2208" y="2622"/>
                    <a:pt x="2017" y="2622"/>
                    <a:pt x="1984" y="2622"/>
                  </a:cubicBezTo>
                  <a:cubicBezTo>
                    <a:pt x="1950" y="2611"/>
                    <a:pt x="1928" y="2589"/>
                    <a:pt x="1894" y="2566"/>
                  </a:cubicBezTo>
                  <a:cubicBezTo>
                    <a:pt x="1849" y="2555"/>
                    <a:pt x="1805" y="2544"/>
                    <a:pt x="1816" y="2510"/>
                  </a:cubicBezTo>
                  <a:cubicBezTo>
                    <a:pt x="1816" y="2465"/>
                    <a:pt x="1805" y="2432"/>
                    <a:pt x="1793" y="2409"/>
                  </a:cubicBezTo>
                  <a:cubicBezTo>
                    <a:pt x="1771" y="2387"/>
                    <a:pt x="1681" y="2297"/>
                    <a:pt x="1648" y="2275"/>
                  </a:cubicBezTo>
                  <a:cubicBezTo>
                    <a:pt x="1625" y="2264"/>
                    <a:pt x="1592" y="2286"/>
                    <a:pt x="1569" y="2219"/>
                  </a:cubicBezTo>
                  <a:cubicBezTo>
                    <a:pt x="1536" y="2141"/>
                    <a:pt x="1513" y="2062"/>
                    <a:pt x="1502" y="2039"/>
                  </a:cubicBezTo>
                  <a:cubicBezTo>
                    <a:pt x="1491" y="2017"/>
                    <a:pt x="1457" y="1894"/>
                    <a:pt x="1423" y="1827"/>
                  </a:cubicBezTo>
                  <a:cubicBezTo>
                    <a:pt x="1390" y="1770"/>
                    <a:pt x="1289" y="1647"/>
                    <a:pt x="1233" y="1591"/>
                  </a:cubicBezTo>
                  <a:cubicBezTo>
                    <a:pt x="1177" y="1546"/>
                    <a:pt x="1065" y="1423"/>
                    <a:pt x="1043" y="1401"/>
                  </a:cubicBezTo>
                  <a:cubicBezTo>
                    <a:pt x="1009" y="1378"/>
                    <a:pt x="919" y="1221"/>
                    <a:pt x="886" y="1154"/>
                  </a:cubicBezTo>
                  <a:cubicBezTo>
                    <a:pt x="841" y="1087"/>
                    <a:pt x="796" y="997"/>
                    <a:pt x="796" y="975"/>
                  </a:cubicBezTo>
                  <a:cubicBezTo>
                    <a:pt x="785" y="952"/>
                    <a:pt x="717" y="840"/>
                    <a:pt x="717" y="796"/>
                  </a:cubicBezTo>
                  <a:cubicBezTo>
                    <a:pt x="706" y="762"/>
                    <a:pt x="695" y="728"/>
                    <a:pt x="673" y="717"/>
                  </a:cubicBezTo>
                  <a:cubicBezTo>
                    <a:pt x="650" y="706"/>
                    <a:pt x="628" y="661"/>
                    <a:pt x="605" y="605"/>
                  </a:cubicBezTo>
                  <a:cubicBezTo>
                    <a:pt x="594" y="549"/>
                    <a:pt x="538" y="470"/>
                    <a:pt x="572" y="459"/>
                  </a:cubicBezTo>
                  <a:cubicBezTo>
                    <a:pt x="594" y="448"/>
                    <a:pt x="605" y="448"/>
                    <a:pt x="583" y="426"/>
                  </a:cubicBezTo>
                  <a:cubicBezTo>
                    <a:pt x="572" y="392"/>
                    <a:pt x="527" y="303"/>
                    <a:pt x="516" y="258"/>
                  </a:cubicBezTo>
                  <a:cubicBezTo>
                    <a:pt x="505" y="213"/>
                    <a:pt x="482" y="190"/>
                    <a:pt x="460" y="190"/>
                  </a:cubicBezTo>
                  <a:cubicBezTo>
                    <a:pt x="448" y="179"/>
                    <a:pt x="437" y="179"/>
                    <a:pt x="448" y="168"/>
                  </a:cubicBezTo>
                  <a:lnTo>
                    <a:pt x="448" y="168"/>
                  </a:lnTo>
                  <a:cubicBezTo>
                    <a:pt x="448" y="168"/>
                    <a:pt x="359" y="168"/>
                    <a:pt x="325" y="112"/>
                  </a:cubicBezTo>
                  <a:cubicBezTo>
                    <a:pt x="292" y="45"/>
                    <a:pt x="269" y="0"/>
                    <a:pt x="224" y="22"/>
                  </a:cubicBezTo>
                  <a:cubicBezTo>
                    <a:pt x="191" y="45"/>
                    <a:pt x="179" y="90"/>
                    <a:pt x="135" y="90"/>
                  </a:cubicBezTo>
                  <a:cubicBezTo>
                    <a:pt x="101" y="90"/>
                    <a:pt x="79" y="45"/>
                    <a:pt x="68" y="79"/>
                  </a:cubicBezTo>
                  <a:cubicBezTo>
                    <a:pt x="56" y="90"/>
                    <a:pt x="45" y="101"/>
                    <a:pt x="34" y="112"/>
                  </a:cubicBezTo>
                  <a:cubicBezTo>
                    <a:pt x="45" y="134"/>
                    <a:pt x="68" y="157"/>
                    <a:pt x="90" y="157"/>
                  </a:cubicBezTo>
                  <a:cubicBezTo>
                    <a:pt x="123" y="168"/>
                    <a:pt x="146" y="168"/>
                    <a:pt x="157" y="190"/>
                  </a:cubicBezTo>
                  <a:cubicBezTo>
                    <a:pt x="168" y="224"/>
                    <a:pt x="146" y="303"/>
                    <a:pt x="101" y="336"/>
                  </a:cubicBezTo>
                  <a:cubicBezTo>
                    <a:pt x="56" y="359"/>
                    <a:pt x="56" y="470"/>
                    <a:pt x="90" y="470"/>
                  </a:cubicBezTo>
                  <a:cubicBezTo>
                    <a:pt x="112" y="470"/>
                    <a:pt x="101" y="504"/>
                    <a:pt x="101" y="538"/>
                  </a:cubicBezTo>
                  <a:cubicBezTo>
                    <a:pt x="101" y="572"/>
                    <a:pt x="34" y="583"/>
                    <a:pt x="12" y="594"/>
                  </a:cubicBezTo>
                  <a:cubicBezTo>
                    <a:pt x="0" y="594"/>
                    <a:pt x="34" y="695"/>
                    <a:pt x="56" y="706"/>
                  </a:cubicBezTo>
                  <a:cubicBezTo>
                    <a:pt x="79" y="717"/>
                    <a:pt x="90" y="784"/>
                    <a:pt x="90" y="784"/>
                  </a:cubicBezTo>
                  <a:cubicBezTo>
                    <a:pt x="112" y="807"/>
                    <a:pt x="112" y="807"/>
                    <a:pt x="112" y="807"/>
                  </a:cubicBezTo>
                  <a:cubicBezTo>
                    <a:pt x="112" y="807"/>
                    <a:pt x="112" y="863"/>
                    <a:pt x="112" y="89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6" name="Freeform 30"/>
            <p:cNvSpPr>
              <a:spLocks noChangeArrowheads="1"/>
            </p:cNvSpPr>
            <p:nvPr/>
          </p:nvSpPr>
          <p:spPr bwMode="auto">
            <a:xfrm>
              <a:off x="5893454" y="5079185"/>
              <a:ext cx="982920" cy="599463"/>
            </a:xfrm>
            <a:custGeom>
              <a:avLst/>
              <a:gdLst>
                <a:gd name="T0" fmla="*/ 2543 w 2835"/>
                <a:gd name="T1" fmla="*/ 1715 h 1727"/>
                <a:gd name="T2" fmla="*/ 2599 w 2835"/>
                <a:gd name="T3" fmla="*/ 1603 h 1727"/>
                <a:gd name="T4" fmla="*/ 2711 w 2835"/>
                <a:gd name="T5" fmla="*/ 1558 h 1727"/>
                <a:gd name="T6" fmla="*/ 2778 w 2835"/>
                <a:gd name="T7" fmla="*/ 1435 h 1727"/>
                <a:gd name="T8" fmla="*/ 2823 w 2835"/>
                <a:gd name="T9" fmla="*/ 1222 h 1727"/>
                <a:gd name="T10" fmla="*/ 2711 w 2835"/>
                <a:gd name="T11" fmla="*/ 1154 h 1727"/>
                <a:gd name="T12" fmla="*/ 2655 w 2835"/>
                <a:gd name="T13" fmla="*/ 930 h 1727"/>
                <a:gd name="T14" fmla="*/ 2577 w 2835"/>
                <a:gd name="T15" fmla="*/ 863 h 1727"/>
                <a:gd name="T16" fmla="*/ 2520 w 2835"/>
                <a:gd name="T17" fmla="*/ 762 h 1727"/>
                <a:gd name="T18" fmla="*/ 2543 w 2835"/>
                <a:gd name="T19" fmla="*/ 650 h 1727"/>
                <a:gd name="T20" fmla="*/ 2453 w 2835"/>
                <a:gd name="T21" fmla="*/ 583 h 1727"/>
                <a:gd name="T22" fmla="*/ 2330 w 2835"/>
                <a:gd name="T23" fmla="*/ 594 h 1727"/>
                <a:gd name="T24" fmla="*/ 2240 w 2835"/>
                <a:gd name="T25" fmla="*/ 527 h 1727"/>
                <a:gd name="T26" fmla="*/ 2151 w 2835"/>
                <a:gd name="T27" fmla="*/ 415 h 1727"/>
                <a:gd name="T28" fmla="*/ 2095 w 2835"/>
                <a:gd name="T29" fmla="*/ 303 h 1727"/>
                <a:gd name="T30" fmla="*/ 1927 w 2835"/>
                <a:gd name="T31" fmla="*/ 247 h 1727"/>
                <a:gd name="T32" fmla="*/ 1837 w 2835"/>
                <a:gd name="T33" fmla="*/ 135 h 1727"/>
                <a:gd name="T34" fmla="*/ 1725 w 2835"/>
                <a:gd name="T35" fmla="*/ 23 h 1727"/>
                <a:gd name="T36" fmla="*/ 1646 w 2835"/>
                <a:gd name="T37" fmla="*/ 90 h 1727"/>
                <a:gd name="T38" fmla="*/ 1568 w 2835"/>
                <a:gd name="T39" fmla="*/ 157 h 1727"/>
                <a:gd name="T40" fmla="*/ 1445 w 2835"/>
                <a:gd name="T41" fmla="*/ 179 h 1727"/>
                <a:gd name="T42" fmla="*/ 1389 w 2835"/>
                <a:gd name="T43" fmla="*/ 236 h 1727"/>
                <a:gd name="T44" fmla="*/ 1333 w 2835"/>
                <a:gd name="T45" fmla="*/ 303 h 1727"/>
                <a:gd name="T46" fmla="*/ 1243 w 2835"/>
                <a:gd name="T47" fmla="*/ 325 h 1727"/>
                <a:gd name="T48" fmla="*/ 1198 w 2835"/>
                <a:gd name="T49" fmla="*/ 213 h 1727"/>
                <a:gd name="T50" fmla="*/ 1153 w 2835"/>
                <a:gd name="T51" fmla="*/ 90 h 1727"/>
                <a:gd name="T52" fmla="*/ 1086 w 2835"/>
                <a:gd name="T53" fmla="*/ 23 h 1727"/>
                <a:gd name="T54" fmla="*/ 996 w 2835"/>
                <a:gd name="T55" fmla="*/ 12 h 1727"/>
                <a:gd name="T56" fmla="*/ 929 w 2835"/>
                <a:gd name="T57" fmla="*/ 68 h 1727"/>
                <a:gd name="T58" fmla="*/ 974 w 2835"/>
                <a:gd name="T59" fmla="*/ 224 h 1727"/>
                <a:gd name="T60" fmla="*/ 996 w 2835"/>
                <a:gd name="T61" fmla="*/ 325 h 1727"/>
                <a:gd name="T62" fmla="*/ 828 w 2835"/>
                <a:gd name="T63" fmla="*/ 281 h 1727"/>
                <a:gd name="T64" fmla="*/ 560 w 2835"/>
                <a:gd name="T65" fmla="*/ 236 h 1727"/>
                <a:gd name="T66" fmla="*/ 336 w 2835"/>
                <a:gd name="T67" fmla="*/ 179 h 1727"/>
                <a:gd name="T68" fmla="*/ 213 w 2835"/>
                <a:gd name="T69" fmla="*/ 247 h 1727"/>
                <a:gd name="T70" fmla="*/ 202 w 2835"/>
                <a:gd name="T71" fmla="*/ 448 h 1727"/>
                <a:gd name="T72" fmla="*/ 11 w 2835"/>
                <a:gd name="T73" fmla="*/ 516 h 1727"/>
                <a:gd name="T74" fmla="*/ 56 w 2835"/>
                <a:gd name="T75" fmla="*/ 661 h 1727"/>
                <a:gd name="T76" fmla="*/ 359 w 2835"/>
                <a:gd name="T77" fmla="*/ 841 h 1727"/>
                <a:gd name="T78" fmla="*/ 716 w 2835"/>
                <a:gd name="T79" fmla="*/ 1099 h 1727"/>
                <a:gd name="T80" fmla="*/ 1142 w 2835"/>
                <a:gd name="T81" fmla="*/ 1255 h 1727"/>
                <a:gd name="T82" fmla="*/ 1702 w 2835"/>
                <a:gd name="T83" fmla="*/ 1536 h 1727"/>
                <a:gd name="T84" fmla="*/ 2095 w 2835"/>
                <a:gd name="T85" fmla="*/ 1569 h 1727"/>
                <a:gd name="T86" fmla="*/ 2296 w 2835"/>
                <a:gd name="T87" fmla="*/ 1625 h 1727"/>
                <a:gd name="T88" fmla="*/ 2543 w 2835"/>
                <a:gd name="T89" fmla="*/ 1715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35" h="1727">
                  <a:moveTo>
                    <a:pt x="2543" y="1715"/>
                  </a:moveTo>
                  <a:lnTo>
                    <a:pt x="2543" y="1715"/>
                  </a:lnTo>
                  <a:cubicBezTo>
                    <a:pt x="2599" y="1715"/>
                    <a:pt x="2565" y="1681"/>
                    <a:pt x="2577" y="1670"/>
                  </a:cubicBezTo>
                  <a:cubicBezTo>
                    <a:pt x="2599" y="1670"/>
                    <a:pt x="2610" y="1614"/>
                    <a:pt x="2599" y="1603"/>
                  </a:cubicBezTo>
                  <a:cubicBezTo>
                    <a:pt x="2577" y="1581"/>
                    <a:pt x="2610" y="1547"/>
                    <a:pt x="2644" y="1569"/>
                  </a:cubicBezTo>
                  <a:cubicBezTo>
                    <a:pt x="2677" y="1581"/>
                    <a:pt x="2700" y="1581"/>
                    <a:pt x="2711" y="1558"/>
                  </a:cubicBezTo>
                  <a:cubicBezTo>
                    <a:pt x="2711" y="1536"/>
                    <a:pt x="2722" y="1502"/>
                    <a:pt x="2745" y="1479"/>
                  </a:cubicBezTo>
                  <a:cubicBezTo>
                    <a:pt x="2767" y="1468"/>
                    <a:pt x="2789" y="1457"/>
                    <a:pt x="2778" y="1435"/>
                  </a:cubicBezTo>
                  <a:cubicBezTo>
                    <a:pt x="2778" y="1412"/>
                    <a:pt x="2778" y="1278"/>
                    <a:pt x="2789" y="1267"/>
                  </a:cubicBezTo>
                  <a:cubicBezTo>
                    <a:pt x="2801" y="1244"/>
                    <a:pt x="2834" y="1233"/>
                    <a:pt x="2823" y="1222"/>
                  </a:cubicBezTo>
                  <a:cubicBezTo>
                    <a:pt x="2812" y="1210"/>
                    <a:pt x="2778" y="1210"/>
                    <a:pt x="2756" y="1199"/>
                  </a:cubicBezTo>
                  <a:cubicBezTo>
                    <a:pt x="2733" y="1188"/>
                    <a:pt x="2733" y="1154"/>
                    <a:pt x="2711" y="1154"/>
                  </a:cubicBezTo>
                  <a:cubicBezTo>
                    <a:pt x="2689" y="1154"/>
                    <a:pt x="2655" y="1143"/>
                    <a:pt x="2655" y="1132"/>
                  </a:cubicBezTo>
                  <a:cubicBezTo>
                    <a:pt x="2644" y="1121"/>
                    <a:pt x="2633" y="953"/>
                    <a:pt x="2655" y="930"/>
                  </a:cubicBezTo>
                  <a:cubicBezTo>
                    <a:pt x="2677" y="908"/>
                    <a:pt x="2655" y="886"/>
                    <a:pt x="2622" y="886"/>
                  </a:cubicBezTo>
                  <a:cubicBezTo>
                    <a:pt x="2588" y="886"/>
                    <a:pt x="2577" y="886"/>
                    <a:pt x="2577" y="863"/>
                  </a:cubicBezTo>
                  <a:cubicBezTo>
                    <a:pt x="2577" y="830"/>
                    <a:pt x="2554" y="830"/>
                    <a:pt x="2532" y="818"/>
                  </a:cubicBezTo>
                  <a:cubicBezTo>
                    <a:pt x="2520" y="807"/>
                    <a:pt x="2532" y="774"/>
                    <a:pt x="2520" y="762"/>
                  </a:cubicBezTo>
                  <a:cubicBezTo>
                    <a:pt x="2498" y="740"/>
                    <a:pt x="2509" y="717"/>
                    <a:pt x="2543" y="706"/>
                  </a:cubicBezTo>
                  <a:cubicBezTo>
                    <a:pt x="2565" y="695"/>
                    <a:pt x="2565" y="661"/>
                    <a:pt x="2543" y="650"/>
                  </a:cubicBezTo>
                  <a:cubicBezTo>
                    <a:pt x="2532" y="639"/>
                    <a:pt x="2520" y="583"/>
                    <a:pt x="2509" y="572"/>
                  </a:cubicBezTo>
                  <a:cubicBezTo>
                    <a:pt x="2498" y="561"/>
                    <a:pt x="2476" y="583"/>
                    <a:pt x="2453" y="583"/>
                  </a:cubicBezTo>
                  <a:cubicBezTo>
                    <a:pt x="2431" y="583"/>
                    <a:pt x="2420" y="594"/>
                    <a:pt x="2397" y="617"/>
                  </a:cubicBezTo>
                  <a:cubicBezTo>
                    <a:pt x="2364" y="628"/>
                    <a:pt x="2353" y="594"/>
                    <a:pt x="2330" y="594"/>
                  </a:cubicBezTo>
                  <a:cubicBezTo>
                    <a:pt x="2308" y="594"/>
                    <a:pt x="2296" y="561"/>
                    <a:pt x="2296" y="538"/>
                  </a:cubicBezTo>
                  <a:cubicBezTo>
                    <a:pt x="2285" y="516"/>
                    <a:pt x="2240" y="538"/>
                    <a:pt x="2240" y="527"/>
                  </a:cubicBezTo>
                  <a:cubicBezTo>
                    <a:pt x="2229" y="516"/>
                    <a:pt x="2229" y="482"/>
                    <a:pt x="2229" y="460"/>
                  </a:cubicBezTo>
                  <a:cubicBezTo>
                    <a:pt x="2218" y="437"/>
                    <a:pt x="2173" y="426"/>
                    <a:pt x="2151" y="415"/>
                  </a:cubicBezTo>
                  <a:cubicBezTo>
                    <a:pt x="2117" y="392"/>
                    <a:pt x="2117" y="392"/>
                    <a:pt x="2117" y="370"/>
                  </a:cubicBezTo>
                  <a:cubicBezTo>
                    <a:pt x="2117" y="336"/>
                    <a:pt x="2117" y="325"/>
                    <a:pt x="2095" y="303"/>
                  </a:cubicBezTo>
                  <a:cubicBezTo>
                    <a:pt x="2072" y="269"/>
                    <a:pt x="2016" y="269"/>
                    <a:pt x="1982" y="269"/>
                  </a:cubicBezTo>
                  <a:cubicBezTo>
                    <a:pt x="1949" y="269"/>
                    <a:pt x="1960" y="247"/>
                    <a:pt x="1927" y="247"/>
                  </a:cubicBezTo>
                  <a:cubicBezTo>
                    <a:pt x="1893" y="258"/>
                    <a:pt x="1882" y="213"/>
                    <a:pt x="1882" y="179"/>
                  </a:cubicBezTo>
                  <a:cubicBezTo>
                    <a:pt x="1882" y="146"/>
                    <a:pt x="1848" y="157"/>
                    <a:pt x="1837" y="135"/>
                  </a:cubicBezTo>
                  <a:cubicBezTo>
                    <a:pt x="1826" y="112"/>
                    <a:pt x="1803" y="79"/>
                    <a:pt x="1781" y="79"/>
                  </a:cubicBezTo>
                  <a:cubicBezTo>
                    <a:pt x="1770" y="79"/>
                    <a:pt x="1736" y="45"/>
                    <a:pt x="1725" y="23"/>
                  </a:cubicBezTo>
                  <a:cubicBezTo>
                    <a:pt x="1714" y="12"/>
                    <a:pt x="1680" y="23"/>
                    <a:pt x="1691" y="45"/>
                  </a:cubicBezTo>
                  <a:cubicBezTo>
                    <a:pt x="1691" y="79"/>
                    <a:pt x="1680" y="90"/>
                    <a:pt x="1646" y="90"/>
                  </a:cubicBezTo>
                  <a:cubicBezTo>
                    <a:pt x="1624" y="90"/>
                    <a:pt x="1635" y="112"/>
                    <a:pt x="1624" y="135"/>
                  </a:cubicBezTo>
                  <a:cubicBezTo>
                    <a:pt x="1624" y="157"/>
                    <a:pt x="1579" y="157"/>
                    <a:pt x="1568" y="157"/>
                  </a:cubicBezTo>
                  <a:cubicBezTo>
                    <a:pt x="1546" y="157"/>
                    <a:pt x="1501" y="157"/>
                    <a:pt x="1489" y="179"/>
                  </a:cubicBezTo>
                  <a:cubicBezTo>
                    <a:pt x="1478" y="202"/>
                    <a:pt x="1467" y="202"/>
                    <a:pt x="1445" y="179"/>
                  </a:cubicBezTo>
                  <a:cubicBezTo>
                    <a:pt x="1433" y="157"/>
                    <a:pt x="1422" y="168"/>
                    <a:pt x="1422" y="191"/>
                  </a:cubicBezTo>
                  <a:cubicBezTo>
                    <a:pt x="1422" y="213"/>
                    <a:pt x="1400" y="236"/>
                    <a:pt x="1389" y="236"/>
                  </a:cubicBezTo>
                  <a:cubicBezTo>
                    <a:pt x="1366" y="224"/>
                    <a:pt x="1355" y="258"/>
                    <a:pt x="1366" y="281"/>
                  </a:cubicBezTo>
                  <a:cubicBezTo>
                    <a:pt x="1366" y="292"/>
                    <a:pt x="1355" y="303"/>
                    <a:pt x="1333" y="303"/>
                  </a:cubicBezTo>
                  <a:cubicBezTo>
                    <a:pt x="1310" y="303"/>
                    <a:pt x="1299" y="314"/>
                    <a:pt x="1288" y="336"/>
                  </a:cubicBezTo>
                  <a:cubicBezTo>
                    <a:pt x="1277" y="359"/>
                    <a:pt x="1254" y="359"/>
                    <a:pt x="1243" y="325"/>
                  </a:cubicBezTo>
                  <a:cubicBezTo>
                    <a:pt x="1232" y="303"/>
                    <a:pt x="1220" y="269"/>
                    <a:pt x="1198" y="258"/>
                  </a:cubicBezTo>
                  <a:cubicBezTo>
                    <a:pt x="1176" y="247"/>
                    <a:pt x="1176" y="224"/>
                    <a:pt x="1198" y="213"/>
                  </a:cubicBezTo>
                  <a:cubicBezTo>
                    <a:pt x="1220" y="191"/>
                    <a:pt x="1187" y="168"/>
                    <a:pt x="1153" y="168"/>
                  </a:cubicBezTo>
                  <a:cubicBezTo>
                    <a:pt x="1120" y="168"/>
                    <a:pt x="1131" y="101"/>
                    <a:pt x="1153" y="90"/>
                  </a:cubicBezTo>
                  <a:cubicBezTo>
                    <a:pt x="1164" y="79"/>
                    <a:pt x="1153" y="56"/>
                    <a:pt x="1131" y="56"/>
                  </a:cubicBezTo>
                  <a:cubicBezTo>
                    <a:pt x="1109" y="56"/>
                    <a:pt x="1109" y="23"/>
                    <a:pt x="1086" y="23"/>
                  </a:cubicBezTo>
                  <a:cubicBezTo>
                    <a:pt x="1064" y="34"/>
                    <a:pt x="1053" y="12"/>
                    <a:pt x="1030" y="0"/>
                  </a:cubicBezTo>
                  <a:cubicBezTo>
                    <a:pt x="1019" y="0"/>
                    <a:pt x="1008" y="12"/>
                    <a:pt x="996" y="12"/>
                  </a:cubicBezTo>
                  <a:cubicBezTo>
                    <a:pt x="985" y="34"/>
                    <a:pt x="963" y="12"/>
                    <a:pt x="940" y="12"/>
                  </a:cubicBezTo>
                  <a:cubicBezTo>
                    <a:pt x="918" y="12"/>
                    <a:pt x="895" y="56"/>
                    <a:pt x="929" y="68"/>
                  </a:cubicBezTo>
                  <a:cubicBezTo>
                    <a:pt x="951" y="79"/>
                    <a:pt x="918" y="112"/>
                    <a:pt x="940" y="135"/>
                  </a:cubicBezTo>
                  <a:cubicBezTo>
                    <a:pt x="963" y="157"/>
                    <a:pt x="940" y="202"/>
                    <a:pt x="974" y="224"/>
                  </a:cubicBezTo>
                  <a:cubicBezTo>
                    <a:pt x="1008" y="236"/>
                    <a:pt x="1053" y="247"/>
                    <a:pt x="1053" y="281"/>
                  </a:cubicBezTo>
                  <a:cubicBezTo>
                    <a:pt x="1053" y="325"/>
                    <a:pt x="1041" y="359"/>
                    <a:pt x="996" y="325"/>
                  </a:cubicBezTo>
                  <a:cubicBezTo>
                    <a:pt x="963" y="292"/>
                    <a:pt x="940" y="258"/>
                    <a:pt x="929" y="258"/>
                  </a:cubicBezTo>
                  <a:cubicBezTo>
                    <a:pt x="907" y="258"/>
                    <a:pt x="851" y="292"/>
                    <a:pt x="828" y="281"/>
                  </a:cubicBezTo>
                  <a:cubicBezTo>
                    <a:pt x="795" y="269"/>
                    <a:pt x="795" y="213"/>
                    <a:pt x="761" y="213"/>
                  </a:cubicBezTo>
                  <a:cubicBezTo>
                    <a:pt x="727" y="213"/>
                    <a:pt x="605" y="202"/>
                    <a:pt x="560" y="236"/>
                  </a:cubicBezTo>
                  <a:cubicBezTo>
                    <a:pt x="516" y="258"/>
                    <a:pt x="459" y="281"/>
                    <a:pt x="448" y="258"/>
                  </a:cubicBezTo>
                  <a:cubicBezTo>
                    <a:pt x="426" y="224"/>
                    <a:pt x="370" y="168"/>
                    <a:pt x="336" y="179"/>
                  </a:cubicBezTo>
                  <a:cubicBezTo>
                    <a:pt x="314" y="179"/>
                    <a:pt x="280" y="191"/>
                    <a:pt x="247" y="191"/>
                  </a:cubicBezTo>
                  <a:cubicBezTo>
                    <a:pt x="224" y="179"/>
                    <a:pt x="213" y="191"/>
                    <a:pt x="213" y="247"/>
                  </a:cubicBezTo>
                  <a:cubicBezTo>
                    <a:pt x="202" y="303"/>
                    <a:pt x="190" y="359"/>
                    <a:pt x="224" y="381"/>
                  </a:cubicBezTo>
                  <a:cubicBezTo>
                    <a:pt x="247" y="404"/>
                    <a:pt x="258" y="460"/>
                    <a:pt x="202" y="448"/>
                  </a:cubicBezTo>
                  <a:cubicBezTo>
                    <a:pt x="157" y="437"/>
                    <a:pt x="123" y="471"/>
                    <a:pt x="112" y="482"/>
                  </a:cubicBezTo>
                  <a:cubicBezTo>
                    <a:pt x="101" y="505"/>
                    <a:pt x="23" y="482"/>
                    <a:pt x="11" y="516"/>
                  </a:cubicBezTo>
                  <a:cubicBezTo>
                    <a:pt x="0" y="538"/>
                    <a:pt x="0" y="617"/>
                    <a:pt x="23" y="639"/>
                  </a:cubicBezTo>
                  <a:cubicBezTo>
                    <a:pt x="34" y="650"/>
                    <a:pt x="45" y="661"/>
                    <a:pt x="56" y="661"/>
                  </a:cubicBezTo>
                  <a:cubicBezTo>
                    <a:pt x="90" y="639"/>
                    <a:pt x="157" y="617"/>
                    <a:pt x="202" y="650"/>
                  </a:cubicBezTo>
                  <a:cubicBezTo>
                    <a:pt x="258" y="684"/>
                    <a:pt x="359" y="841"/>
                    <a:pt x="359" y="841"/>
                  </a:cubicBezTo>
                  <a:cubicBezTo>
                    <a:pt x="359" y="852"/>
                    <a:pt x="415" y="919"/>
                    <a:pt x="504" y="964"/>
                  </a:cubicBezTo>
                  <a:cubicBezTo>
                    <a:pt x="605" y="1009"/>
                    <a:pt x="682" y="1065"/>
                    <a:pt x="716" y="1099"/>
                  </a:cubicBezTo>
                  <a:cubicBezTo>
                    <a:pt x="750" y="1143"/>
                    <a:pt x="817" y="1210"/>
                    <a:pt x="873" y="1210"/>
                  </a:cubicBezTo>
                  <a:cubicBezTo>
                    <a:pt x="940" y="1210"/>
                    <a:pt x="1041" y="1210"/>
                    <a:pt x="1142" y="1255"/>
                  </a:cubicBezTo>
                  <a:cubicBezTo>
                    <a:pt x="1243" y="1300"/>
                    <a:pt x="1523" y="1401"/>
                    <a:pt x="1590" y="1457"/>
                  </a:cubicBezTo>
                  <a:cubicBezTo>
                    <a:pt x="1669" y="1513"/>
                    <a:pt x="1680" y="1524"/>
                    <a:pt x="1702" y="1536"/>
                  </a:cubicBezTo>
                  <a:cubicBezTo>
                    <a:pt x="1736" y="1536"/>
                    <a:pt x="1938" y="1547"/>
                    <a:pt x="1982" y="1558"/>
                  </a:cubicBezTo>
                  <a:cubicBezTo>
                    <a:pt x="2016" y="1558"/>
                    <a:pt x="2095" y="1558"/>
                    <a:pt x="2095" y="1569"/>
                  </a:cubicBezTo>
                  <a:cubicBezTo>
                    <a:pt x="2095" y="1592"/>
                    <a:pt x="2095" y="1603"/>
                    <a:pt x="2117" y="1603"/>
                  </a:cubicBezTo>
                  <a:cubicBezTo>
                    <a:pt x="2151" y="1592"/>
                    <a:pt x="2251" y="1603"/>
                    <a:pt x="2296" y="1625"/>
                  </a:cubicBezTo>
                  <a:cubicBezTo>
                    <a:pt x="2319" y="1648"/>
                    <a:pt x="2375" y="1692"/>
                    <a:pt x="2420" y="1726"/>
                  </a:cubicBezTo>
                  <a:cubicBezTo>
                    <a:pt x="2442" y="1704"/>
                    <a:pt x="2498" y="1704"/>
                    <a:pt x="2543" y="171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7" name="Freeform 31"/>
            <p:cNvSpPr>
              <a:spLocks noChangeArrowheads="1"/>
            </p:cNvSpPr>
            <p:nvPr/>
          </p:nvSpPr>
          <p:spPr bwMode="auto">
            <a:xfrm>
              <a:off x="7796619" y="5218345"/>
              <a:ext cx="882028" cy="839555"/>
            </a:xfrm>
            <a:custGeom>
              <a:avLst/>
              <a:gdLst>
                <a:gd name="T0" fmla="*/ 90 w 2545"/>
                <a:gd name="T1" fmla="*/ 1154 h 2421"/>
                <a:gd name="T2" fmla="*/ 56 w 2545"/>
                <a:gd name="T3" fmla="*/ 1344 h 2421"/>
                <a:gd name="T4" fmla="*/ 79 w 2545"/>
                <a:gd name="T5" fmla="*/ 1434 h 2421"/>
                <a:gd name="T6" fmla="*/ 516 w 2545"/>
                <a:gd name="T7" fmla="*/ 1670 h 2421"/>
                <a:gd name="T8" fmla="*/ 1065 w 2545"/>
                <a:gd name="T9" fmla="*/ 2118 h 2421"/>
                <a:gd name="T10" fmla="*/ 1368 w 2545"/>
                <a:gd name="T11" fmla="*/ 2420 h 2421"/>
                <a:gd name="T12" fmla="*/ 1446 w 2545"/>
                <a:gd name="T13" fmla="*/ 2039 h 2421"/>
                <a:gd name="T14" fmla="*/ 1659 w 2545"/>
                <a:gd name="T15" fmla="*/ 1277 h 2421"/>
                <a:gd name="T16" fmla="*/ 2522 w 2545"/>
                <a:gd name="T17" fmla="*/ 1098 h 2421"/>
                <a:gd name="T18" fmla="*/ 2455 w 2545"/>
                <a:gd name="T19" fmla="*/ 1008 h 2421"/>
                <a:gd name="T20" fmla="*/ 2343 w 2545"/>
                <a:gd name="T21" fmla="*/ 941 h 2421"/>
                <a:gd name="T22" fmla="*/ 2219 w 2545"/>
                <a:gd name="T23" fmla="*/ 784 h 2421"/>
                <a:gd name="T24" fmla="*/ 2062 w 2545"/>
                <a:gd name="T25" fmla="*/ 706 h 2421"/>
                <a:gd name="T26" fmla="*/ 1973 w 2545"/>
                <a:gd name="T27" fmla="*/ 627 h 2421"/>
                <a:gd name="T28" fmla="*/ 1861 w 2545"/>
                <a:gd name="T29" fmla="*/ 549 h 2421"/>
                <a:gd name="T30" fmla="*/ 1805 w 2545"/>
                <a:gd name="T31" fmla="*/ 459 h 2421"/>
                <a:gd name="T32" fmla="*/ 1805 w 2545"/>
                <a:gd name="T33" fmla="*/ 392 h 2421"/>
                <a:gd name="T34" fmla="*/ 1670 w 2545"/>
                <a:gd name="T35" fmla="*/ 336 h 2421"/>
                <a:gd name="T36" fmla="*/ 1637 w 2545"/>
                <a:gd name="T37" fmla="*/ 224 h 2421"/>
                <a:gd name="T38" fmla="*/ 1536 w 2545"/>
                <a:gd name="T39" fmla="*/ 134 h 2421"/>
                <a:gd name="T40" fmla="*/ 1435 w 2545"/>
                <a:gd name="T41" fmla="*/ 44 h 2421"/>
                <a:gd name="T42" fmla="*/ 1334 w 2545"/>
                <a:gd name="T43" fmla="*/ 67 h 2421"/>
                <a:gd name="T44" fmla="*/ 1177 w 2545"/>
                <a:gd name="T45" fmla="*/ 190 h 2421"/>
                <a:gd name="T46" fmla="*/ 1054 w 2545"/>
                <a:gd name="T47" fmla="*/ 291 h 2421"/>
                <a:gd name="T48" fmla="*/ 964 w 2545"/>
                <a:gd name="T49" fmla="*/ 370 h 2421"/>
                <a:gd name="T50" fmla="*/ 897 w 2545"/>
                <a:gd name="T51" fmla="*/ 459 h 2421"/>
                <a:gd name="T52" fmla="*/ 819 w 2545"/>
                <a:gd name="T53" fmla="*/ 347 h 2421"/>
                <a:gd name="T54" fmla="*/ 706 w 2545"/>
                <a:gd name="T55" fmla="*/ 302 h 2421"/>
                <a:gd name="T56" fmla="*/ 673 w 2545"/>
                <a:gd name="T57" fmla="*/ 123 h 2421"/>
                <a:gd name="T58" fmla="*/ 594 w 2545"/>
                <a:gd name="T59" fmla="*/ 33 h 2421"/>
                <a:gd name="T60" fmla="*/ 448 w 2545"/>
                <a:gd name="T61" fmla="*/ 190 h 2421"/>
                <a:gd name="T62" fmla="*/ 426 w 2545"/>
                <a:gd name="T63" fmla="*/ 313 h 2421"/>
                <a:gd name="T64" fmla="*/ 337 w 2545"/>
                <a:gd name="T65" fmla="*/ 493 h 2421"/>
                <a:gd name="T66" fmla="*/ 281 w 2545"/>
                <a:gd name="T67" fmla="*/ 537 h 2421"/>
                <a:gd name="T68" fmla="*/ 202 w 2545"/>
                <a:gd name="T69" fmla="*/ 616 h 2421"/>
                <a:gd name="T70" fmla="*/ 0 w 2545"/>
                <a:gd name="T71" fmla="*/ 1120 h 2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45" h="2421">
                  <a:moveTo>
                    <a:pt x="90" y="1154"/>
                  </a:moveTo>
                  <a:lnTo>
                    <a:pt x="90" y="1154"/>
                  </a:lnTo>
                  <a:cubicBezTo>
                    <a:pt x="101" y="1188"/>
                    <a:pt x="101" y="1277"/>
                    <a:pt x="79" y="1288"/>
                  </a:cubicBezTo>
                  <a:cubicBezTo>
                    <a:pt x="56" y="1288"/>
                    <a:pt x="56" y="1311"/>
                    <a:pt x="56" y="1344"/>
                  </a:cubicBezTo>
                  <a:cubicBezTo>
                    <a:pt x="45" y="1367"/>
                    <a:pt x="45" y="1401"/>
                    <a:pt x="34" y="1423"/>
                  </a:cubicBezTo>
                  <a:cubicBezTo>
                    <a:pt x="56" y="1423"/>
                    <a:pt x="68" y="1434"/>
                    <a:pt x="79" y="1434"/>
                  </a:cubicBezTo>
                  <a:cubicBezTo>
                    <a:pt x="123" y="1434"/>
                    <a:pt x="180" y="1501"/>
                    <a:pt x="269" y="1546"/>
                  </a:cubicBezTo>
                  <a:cubicBezTo>
                    <a:pt x="370" y="1591"/>
                    <a:pt x="482" y="1647"/>
                    <a:pt x="516" y="1670"/>
                  </a:cubicBezTo>
                  <a:cubicBezTo>
                    <a:pt x="538" y="1703"/>
                    <a:pt x="729" y="1849"/>
                    <a:pt x="830" y="1927"/>
                  </a:cubicBezTo>
                  <a:cubicBezTo>
                    <a:pt x="942" y="2006"/>
                    <a:pt x="1043" y="2084"/>
                    <a:pt x="1065" y="2118"/>
                  </a:cubicBezTo>
                  <a:cubicBezTo>
                    <a:pt x="1087" y="2140"/>
                    <a:pt x="1278" y="2353"/>
                    <a:pt x="1334" y="2398"/>
                  </a:cubicBezTo>
                  <a:cubicBezTo>
                    <a:pt x="1345" y="2398"/>
                    <a:pt x="1356" y="2409"/>
                    <a:pt x="1368" y="2420"/>
                  </a:cubicBezTo>
                  <a:cubicBezTo>
                    <a:pt x="1368" y="2420"/>
                    <a:pt x="1401" y="2252"/>
                    <a:pt x="1401" y="2196"/>
                  </a:cubicBezTo>
                  <a:cubicBezTo>
                    <a:pt x="1412" y="2151"/>
                    <a:pt x="1457" y="2073"/>
                    <a:pt x="1446" y="2039"/>
                  </a:cubicBezTo>
                  <a:cubicBezTo>
                    <a:pt x="1435" y="2017"/>
                    <a:pt x="1334" y="1950"/>
                    <a:pt x="1334" y="1950"/>
                  </a:cubicBezTo>
                  <a:cubicBezTo>
                    <a:pt x="1659" y="1277"/>
                    <a:pt x="1659" y="1277"/>
                    <a:pt x="1659" y="1277"/>
                  </a:cubicBezTo>
                  <a:cubicBezTo>
                    <a:pt x="2522" y="1244"/>
                    <a:pt x="2522" y="1244"/>
                    <a:pt x="2522" y="1244"/>
                  </a:cubicBezTo>
                  <a:cubicBezTo>
                    <a:pt x="2522" y="1244"/>
                    <a:pt x="2488" y="1132"/>
                    <a:pt x="2522" y="1098"/>
                  </a:cubicBezTo>
                  <a:cubicBezTo>
                    <a:pt x="2544" y="1064"/>
                    <a:pt x="2544" y="1053"/>
                    <a:pt x="2522" y="1042"/>
                  </a:cubicBezTo>
                  <a:cubicBezTo>
                    <a:pt x="2488" y="1031"/>
                    <a:pt x="2488" y="997"/>
                    <a:pt x="2455" y="1008"/>
                  </a:cubicBezTo>
                  <a:cubicBezTo>
                    <a:pt x="2410" y="1019"/>
                    <a:pt x="2399" y="1008"/>
                    <a:pt x="2387" y="986"/>
                  </a:cubicBezTo>
                  <a:cubicBezTo>
                    <a:pt x="2376" y="963"/>
                    <a:pt x="2354" y="941"/>
                    <a:pt x="2343" y="941"/>
                  </a:cubicBezTo>
                  <a:cubicBezTo>
                    <a:pt x="2332" y="930"/>
                    <a:pt x="2320" y="885"/>
                    <a:pt x="2320" y="863"/>
                  </a:cubicBezTo>
                  <a:cubicBezTo>
                    <a:pt x="2309" y="829"/>
                    <a:pt x="2253" y="784"/>
                    <a:pt x="2219" y="784"/>
                  </a:cubicBezTo>
                  <a:cubicBezTo>
                    <a:pt x="2186" y="784"/>
                    <a:pt x="2141" y="784"/>
                    <a:pt x="2130" y="762"/>
                  </a:cubicBezTo>
                  <a:cubicBezTo>
                    <a:pt x="2119" y="739"/>
                    <a:pt x="2074" y="762"/>
                    <a:pt x="2062" y="706"/>
                  </a:cubicBezTo>
                  <a:cubicBezTo>
                    <a:pt x="2051" y="661"/>
                    <a:pt x="2040" y="661"/>
                    <a:pt x="2018" y="672"/>
                  </a:cubicBezTo>
                  <a:cubicBezTo>
                    <a:pt x="1984" y="672"/>
                    <a:pt x="1995" y="650"/>
                    <a:pt x="1973" y="627"/>
                  </a:cubicBezTo>
                  <a:cubicBezTo>
                    <a:pt x="1950" y="605"/>
                    <a:pt x="1928" y="594"/>
                    <a:pt x="1917" y="571"/>
                  </a:cubicBezTo>
                  <a:cubicBezTo>
                    <a:pt x="1894" y="549"/>
                    <a:pt x="1894" y="560"/>
                    <a:pt x="1861" y="549"/>
                  </a:cubicBezTo>
                  <a:cubicBezTo>
                    <a:pt x="1827" y="526"/>
                    <a:pt x="1793" y="470"/>
                    <a:pt x="1793" y="470"/>
                  </a:cubicBezTo>
                  <a:cubicBezTo>
                    <a:pt x="1793" y="470"/>
                    <a:pt x="1793" y="459"/>
                    <a:pt x="1805" y="459"/>
                  </a:cubicBezTo>
                  <a:lnTo>
                    <a:pt x="1805" y="459"/>
                  </a:lnTo>
                  <a:cubicBezTo>
                    <a:pt x="1805" y="459"/>
                    <a:pt x="1838" y="381"/>
                    <a:pt x="1805" y="392"/>
                  </a:cubicBezTo>
                  <a:cubicBezTo>
                    <a:pt x="1771" y="392"/>
                    <a:pt x="1771" y="347"/>
                    <a:pt x="1749" y="358"/>
                  </a:cubicBezTo>
                  <a:cubicBezTo>
                    <a:pt x="1726" y="370"/>
                    <a:pt x="1704" y="325"/>
                    <a:pt x="1670" y="336"/>
                  </a:cubicBezTo>
                  <a:cubicBezTo>
                    <a:pt x="1648" y="358"/>
                    <a:pt x="1625" y="325"/>
                    <a:pt x="1637" y="302"/>
                  </a:cubicBezTo>
                  <a:cubicBezTo>
                    <a:pt x="1659" y="269"/>
                    <a:pt x="1614" y="235"/>
                    <a:pt x="1637" y="224"/>
                  </a:cubicBezTo>
                  <a:cubicBezTo>
                    <a:pt x="1659" y="213"/>
                    <a:pt x="1614" y="157"/>
                    <a:pt x="1592" y="168"/>
                  </a:cubicBezTo>
                  <a:cubicBezTo>
                    <a:pt x="1558" y="168"/>
                    <a:pt x="1525" y="157"/>
                    <a:pt x="1536" y="134"/>
                  </a:cubicBezTo>
                  <a:cubicBezTo>
                    <a:pt x="1547" y="101"/>
                    <a:pt x="1513" y="44"/>
                    <a:pt x="1491" y="33"/>
                  </a:cubicBezTo>
                  <a:cubicBezTo>
                    <a:pt x="1457" y="33"/>
                    <a:pt x="1435" y="11"/>
                    <a:pt x="1435" y="44"/>
                  </a:cubicBezTo>
                  <a:cubicBezTo>
                    <a:pt x="1423" y="67"/>
                    <a:pt x="1412" y="0"/>
                    <a:pt x="1390" y="11"/>
                  </a:cubicBezTo>
                  <a:cubicBezTo>
                    <a:pt x="1368" y="22"/>
                    <a:pt x="1356" y="67"/>
                    <a:pt x="1334" y="67"/>
                  </a:cubicBezTo>
                  <a:cubicBezTo>
                    <a:pt x="1323" y="67"/>
                    <a:pt x="1312" y="89"/>
                    <a:pt x="1278" y="123"/>
                  </a:cubicBezTo>
                  <a:cubicBezTo>
                    <a:pt x="1256" y="146"/>
                    <a:pt x="1199" y="168"/>
                    <a:pt x="1177" y="190"/>
                  </a:cubicBezTo>
                  <a:cubicBezTo>
                    <a:pt x="1166" y="201"/>
                    <a:pt x="1166" y="257"/>
                    <a:pt x="1143" y="257"/>
                  </a:cubicBezTo>
                  <a:cubicBezTo>
                    <a:pt x="1110" y="257"/>
                    <a:pt x="1054" y="257"/>
                    <a:pt x="1054" y="291"/>
                  </a:cubicBezTo>
                  <a:cubicBezTo>
                    <a:pt x="1043" y="313"/>
                    <a:pt x="1020" y="325"/>
                    <a:pt x="998" y="313"/>
                  </a:cubicBezTo>
                  <a:cubicBezTo>
                    <a:pt x="975" y="313"/>
                    <a:pt x="987" y="370"/>
                    <a:pt x="964" y="370"/>
                  </a:cubicBezTo>
                  <a:cubicBezTo>
                    <a:pt x="953" y="381"/>
                    <a:pt x="942" y="437"/>
                    <a:pt x="942" y="459"/>
                  </a:cubicBezTo>
                  <a:cubicBezTo>
                    <a:pt x="942" y="470"/>
                    <a:pt x="897" y="482"/>
                    <a:pt x="897" y="459"/>
                  </a:cubicBezTo>
                  <a:cubicBezTo>
                    <a:pt x="897" y="426"/>
                    <a:pt x="830" y="426"/>
                    <a:pt x="841" y="403"/>
                  </a:cubicBezTo>
                  <a:cubicBezTo>
                    <a:pt x="852" y="370"/>
                    <a:pt x="852" y="347"/>
                    <a:pt x="819" y="347"/>
                  </a:cubicBezTo>
                  <a:cubicBezTo>
                    <a:pt x="774" y="358"/>
                    <a:pt x="740" y="358"/>
                    <a:pt x="729" y="336"/>
                  </a:cubicBezTo>
                  <a:cubicBezTo>
                    <a:pt x="729" y="313"/>
                    <a:pt x="717" y="302"/>
                    <a:pt x="706" y="302"/>
                  </a:cubicBezTo>
                  <a:cubicBezTo>
                    <a:pt x="695" y="302"/>
                    <a:pt x="695" y="168"/>
                    <a:pt x="695" y="168"/>
                  </a:cubicBezTo>
                  <a:cubicBezTo>
                    <a:pt x="695" y="168"/>
                    <a:pt x="661" y="146"/>
                    <a:pt x="673" y="123"/>
                  </a:cubicBezTo>
                  <a:cubicBezTo>
                    <a:pt x="673" y="101"/>
                    <a:pt x="661" y="89"/>
                    <a:pt x="639" y="89"/>
                  </a:cubicBezTo>
                  <a:cubicBezTo>
                    <a:pt x="617" y="89"/>
                    <a:pt x="605" y="56"/>
                    <a:pt x="594" y="33"/>
                  </a:cubicBezTo>
                  <a:cubicBezTo>
                    <a:pt x="572" y="22"/>
                    <a:pt x="516" y="22"/>
                    <a:pt x="482" y="44"/>
                  </a:cubicBezTo>
                  <a:cubicBezTo>
                    <a:pt x="460" y="67"/>
                    <a:pt x="437" y="157"/>
                    <a:pt x="448" y="190"/>
                  </a:cubicBezTo>
                  <a:cubicBezTo>
                    <a:pt x="460" y="213"/>
                    <a:pt x="505" y="213"/>
                    <a:pt x="482" y="246"/>
                  </a:cubicBezTo>
                  <a:cubicBezTo>
                    <a:pt x="460" y="269"/>
                    <a:pt x="437" y="291"/>
                    <a:pt x="426" y="313"/>
                  </a:cubicBezTo>
                  <a:cubicBezTo>
                    <a:pt x="426" y="347"/>
                    <a:pt x="404" y="336"/>
                    <a:pt x="392" y="392"/>
                  </a:cubicBezTo>
                  <a:cubicBezTo>
                    <a:pt x="381" y="437"/>
                    <a:pt x="348" y="459"/>
                    <a:pt x="337" y="493"/>
                  </a:cubicBezTo>
                  <a:cubicBezTo>
                    <a:pt x="337" y="515"/>
                    <a:pt x="325" y="537"/>
                    <a:pt x="303" y="549"/>
                  </a:cubicBezTo>
                  <a:cubicBezTo>
                    <a:pt x="292" y="549"/>
                    <a:pt x="292" y="537"/>
                    <a:pt x="281" y="537"/>
                  </a:cubicBezTo>
                  <a:cubicBezTo>
                    <a:pt x="281" y="560"/>
                    <a:pt x="281" y="571"/>
                    <a:pt x="269" y="571"/>
                  </a:cubicBezTo>
                  <a:cubicBezTo>
                    <a:pt x="236" y="582"/>
                    <a:pt x="202" y="582"/>
                    <a:pt x="202" y="616"/>
                  </a:cubicBezTo>
                  <a:cubicBezTo>
                    <a:pt x="191" y="650"/>
                    <a:pt x="157" y="661"/>
                    <a:pt x="157" y="661"/>
                  </a:cubicBezTo>
                  <a:cubicBezTo>
                    <a:pt x="0" y="1120"/>
                    <a:pt x="0" y="1120"/>
                    <a:pt x="0" y="1120"/>
                  </a:cubicBezTo>
                  <a:cubicBezTo>
                    <a:pt x="0" y="1120"/>
                    <a:pt x="79" y="1109"/>
                    <a:pt x="90" y="115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" name="Freeform 32"/>
            <p:cNvSpPr>
              <a:spLocks noChangeArrowheads="1"/>
            </p:cNvSpPr>
            <p:nvPr/>
          </p:nvSpPr>
          <p:spPr bwMode="auto">
            <a:xfrm>
              <a:off x="6732681" y="5086830"/>
              <a:ext cx="1118969" cy="750859"/>
            </a:xfrm>
            <a:custGeom>
              <a:avLst/>
              <a:gdLst>
                <a:gd name="T0" fmla="*/ 123 w 3228"/>
                <a:gd name="T1" fmla="*/ 683 h 2163"/>
                <a:gd name="T2" fmla="*/ 112 w 3228"/>
                <a:gd name="T3" fmla="*/ 795 h 2163"/>
                <a:gd name="T4" fmla="*/ 202 w 3228"/>
                <a:gd name="T5" fmla="*/ 863 h 2163"/>
                <a:gd name="T6" fmla="*/ 235 w 3228"/>
                <a:gd name="T7" fmla="*/ 1109 h 2163"/>
                <a:gd name="T8" fmla="*/ 336 w 3228"/>
                <a:gd name="T9" fmla="*/ 1176 h 2163"/>
                <a:gd name="T10" fmla="*/ 369 w 3228"/>
                <a:gd name="T11" fmla="*/ 1244 h 2163"/>
                <a:gd name="T12" fmla="*/ 325 w 3228"/>
                <a:gd name="T13" fmla="*/ 1456 h 2163"/>
                <a:gd name="T14" fmla="*/ 224 w 3228"/>
                <a:gd name="T15" fmla="*/ 1546 h 2163"/>
                <a:gd name="T16" fmla="*/ 157 w 3228"/>
                <a:gd name="T17" fmla="*/ 1647 h 2163"/>
                <a:gd name="T18" fmla="*/ 0 w 3228"/>
                <a:gd name="T19" fmla="*/ 1703 h 2163"/>
                <a:gd name="T20" fmla="*/ 224 w 3228"/>
                <a:gd name="T21" fmla="*/ 1838 h 2163"/>
                <a:gd name="T22" fmla="*/ 638 w 3228"/>
                <a:gd name="T23" fmla="*/ 2028 h 2163"/>
                <a:gd name="T24" fmla="*/ 975 w 3228"/>
                <a:gd name="T25" fmla="*/ 2017 h 2163"/>
                <a:gd name="T26" fmla="*/ 1535 w 3228"/>
                <a:gd name="T27" fmla="*/ 2140 h 2163"/>
                <a:gd name="T28" fmla="*/ 1882 w 3228"/>
                <a:gd name="T29" fmla="*/ 2006 h 2163"/>
                <a:gd name="T30" fmla="*/ 2275 w 3228"/>
                <a:gd name="T31" fmla="*/ 1838 h 2163"/>
                <a:gd name="T32" fmla="*/ 2375 w 3228"/>
                <a:gd name="T33" fmla="*/ 1725 h 2163"/>
                <a:gd name="T34" fmla="*/ 2544 w 3228"/>
                <a:gd name="T35" fmla="*/ 1714 h 2163"/>
                <a:gd name="T36" fmla="*/ 2443 w 3228"/>
                <a:gd name="T37" fmla="*/ 1647 h 2163"/>
                <a:gd name="T38" fmla="*/ 2510 w 3228"/>
                <a:gd name="T39" fmla="*/ 1625 h 2163"/>
                <a:gd name="T40" fmla="*/ 2600 w 3228"/>
                <a:gd name="T41" fmla="*/ 1613 h 2163"/>
                <a:gd name="T42" fmla="*/ 2622 w 3228"/>
                <a:gd name="T43" fmla="*/ 1692 h 2163"/>
                <a:gd name="T44" fmla="*/ 2700 w 3228"/>
                <a:gd name="T45" fmla="*/ 1613 h 2163"/>
                <a:gd name="T46" fmla="*/ 2723 w 3228"/>
                <a:gd name="T47" fmla="*/ 1681 h 2163"/>
                <a:gd name="T48" fmla="*/ 2667 w 3228"/>
                <a:gd name="T49" fmla="*/ 1737 h 2163"/>
                <a:gd name="T50" fmla="*/ 2880 w 3228"/>
                <a:gd name="T51" fmla="*/ 1725 h 2163"/>
                <a:gd name="T52" fmla="*/ 3104 w 3228"/>
                <a:gd name="T53" fmla="*/ 1804 h 2163"/>
                <a:gd name="T54" fmla="*/ 3149 w 3228"/>
                <a:gd name="T55" fmla="*/ 1669 h 2163"/>
                <a:gd name="T56" fmla="*/ 3070 w 3228"/>
                <a:gd name="T57" fmla="*/ 1501 h 2163"/>
                <a:gd name="T58" fmla="*/ 2533 w 3228"/>
                <a:gd name="T59" fmla="*/ 1053 h 2163"/>
                <a:gd name="T60" fmla="*/ 2420 w 3228"/>
                <a:gd name="T61" fmla="*/ 930 h 2163"/>
                <a:gd name="T62" fmla="*/ 2342 w 3228"/>
                <a:gd name="T63" fmla="*/ 818 h 2163"/>
                <a:gd name="T64" fmla="*/ 2308 w 3228"/>
                <a:gd name="T65" fmla="*/ 739 h 2163"/>
                <a:gd name="T66" fmla="*/ 2252 w 3228"/>
                <a:gd name="T67" fmla="*/ 650 h 2163"/>
                <a:gd name="T68" fmla="*/ 2140 w 3228"/>
                <a:gd name="T69" fmla="*/ 762 h 2163"/>
                <a:gd name="T70" fmla="*/ 2039 w 3228"/>
                <a:gd name="T71" fmla="*/ 818 h 2163"/>
                <a:gd name="T72" fmla="*/ 1860 w 3228"/>
                <a:gd name="T73" fmla="*/ 717 h 2163"/>
                <a:gd name="T74" fmla="*/ 1871 w 3228"/>
                <a:gd name="T75" fmla="*/ 582 h 2163"/>
                <a:gd name="T76" fmla="*/ 1838 w 3228"/>
                <a:gd name="T77" fmla="*/ 369 h 2163"/>
                <a:gd name="T78" fmla="*/ 1613 w 3228"/>
                <a:gd name="T79" fmla="*/ 392 h 2163"/>
                <a:gd name="T80" fmla="*/ 1502 w 3228"/>
                <a:gd name="T81" fmla="*/ 224 h 2163"/>
                <a:gd name="T82" fmla="*/ 1289 w 3228"/>
                <a:gd name="T83" fmla="*/ 11 h 2163"/>
                <a:gd name="T84" fmla="*/ 1289 w 3228"/>
                <a:gd name="T85" fmla="*/ 201 h 2163"/>
                <a:gd name="T86" fmla="*/ 1233 w 3228"/>
                <a:gd name="T87" fmla="*/ 246 h 2163"/>
                <a:gd name="T88" fmla="*/ 1154 w 3228"/>
                <a:gd name="T89" fmla="*/ 347 h 2163"/>
                <a:gd name="T90" fmla="*/ 986 w 3228"/>
                <a:gd name="T91" fmla="*/ 414 h 2163"/>
                <a:gd name="T92" fmla="*/ 818 w 3228"/>
                <a:gd name="T93" fmla="*/ 459 h 2163"/>
                <a:gd name="T94" fmla="*/ 728 w 3228"/>
                <a:gd name="T95" fmla="*/ 493 h 2163"/>
                <a:gd name="T96" fmla="*/ 627 w 3228"/>
                <a:gd name="T97" fmla="*/ 358 h 2163"/>
                <a:gd name="T98" fmla="*/ 482 w 3228"/>
                <a:gd name="T99" fmla="*/ 425 h 2163"/>
                <a:gd name="T100" fmla="*/ 571 w 3228"/>
                <a:gd name="T101" fmla="*/ 515 h 2163"/>
                <a:gd name="T102" fmla="*/ 459 w 3228"/>
                <a:gd name="T103" fmla="*/ 582 h 2163"/>
                <a:gd name="T104" fmla="*/ 224 w 3228"/>
                <a:gd name="T105" fmla="*/ 627 h 2163"/>
                <a:gd name="T106" fmla="*/ 123 w 3228"/>
                <a:gd name="T107" fmla="*/ 627 h 2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28" h="2163">
                  <a:moveTo>
                    <a:pt x="123" y="683"/>
                  </a:moveTo>
                  <a:lnTo>
                    <a:pt x="123" y="683"/>
                  </a:lnTo>
                  <a:cubicBezTo>
                    <a:pt x="89" y="694"/>
                    <a:pt x="78" y="717"/>
                    <a:pt x="100" y="739"/>
                  </a:cubicBezTo>
                  <a:cubicBezTo>
                    <a:pt x="112" y="751"/>
                    <a:pt x="100" y="784"/>
                    <a:pt x="112" y="795"/>
                  </a:cubicBezTo>
                  <a:cubicBezTo>
                    <a:pt x="134" y="807"/>
                    <a:pt x="157" y="807"/>
                    <a:pt x="157" y="840"/>
                  </a:cubicBezTo>
                  <a:cubicBezTo>
                    <a:pt x="157" y="863"/>
                    <a:pt x="168" y="863"/>
                    <a:pt x="202" y="863"/>
                  </a:cubicBezTo>
                  <a:cubicBezTo>
                    <a:pt x="235" y="863"/>
                    <a:pt x="257" y="885"/>
                    <a:pt x="235" y="907"/>
                  </a:cubicBezTo>
                  <a:cubicBezTo>
                    <a:pt x="213" y="930"/>
                    <a:pt x="224" y="1098"/>
                    <a:pt x="235" y="1109"/>
                  </a:cubicBezTo>
                  <a:cubicBezTo>
                    <a:pt x="235" y="1120"/>
                    <a:pt x="269" y="1131"/>
                    <a:pt x="291" y="1131"/>
                  </a:cubicBezTo>
                  <a:cubicBezTo>
                    <a:pt x="313" y="1131"/>
                    <a:pt x="313" y="1165"/>
                    <a:pt x="336" y="1176"/>
                  </a:cubicBezTo>
                  <a:cubicBezTo>
                    <a:pt x="358" y="1187"/>
                    <a:pt x="392" y="1187"/>
                    <a:pt x="403" y="1199"/>
                  </a:cubicBezTo>
                  <a:cubicBezTo>
                    <a:pt x="414" y="1210"/>
                    <a:pt x="381" y="1221"/>
                    <a:pt x="369" y="1244"/>
                  </a:cubicBezTo>
                  <a:cubicBezTo>
                    <a:pt x="358" y="1255"/>
                    <a:pt x="358" y="1389"/>
                    <a:pt x="358" y="1412"/>
                  </a:cubicBezTo>
                  <a:cubicBezTo>
                    <a:pt x="369" y="1434"/>
                    <a:pt x="347" y="1445"/>
                    <a:pt x="325" y="1456"/>
                  </a:cubicBezTo>
                  <a:cubicBezTo>
                    <a:pt x="302" y="1479"/>
                    <a:pt x="291" y="1513"/>
                    <a:pt x="291" y="1535"/>
                  </a:cubicBezTo>
                  <a:cubicBezTo>
                    <a:pt x="280" y="1558"/>
                    <a:pt x="257" y="1558"/>
                    <a:pt x="224" y="1546"/>
                  </a:cubicBezTo>
                  <a:cubicBezTo>
                    <a:pt x="190" y="1524"/>
                    <a:pt x="157" y="1558"/>
                    <a:pt x="179" y="1580"/>
                  </a:cubicBezTo>
                  <a:cubicBezTo>
                    <a:pt x="190" y="1591"/>
                    <a:pt x="179" y="1647"/>
                    <a:pt x="157" y="1647"/>
                  </a:cubicBezTo>
                  <a:cubicBezTo>
                    <a:pt x="145" y="1658"/>
                    <a:pt x="179" y="1692"/>
                    <a:pt x="123" y="1692"/>
                  </a:cubicBezTo>
                  <a:cubicBezTo>
                    <a:pt x="78" y="1681"/>
                    <a:pt x="22" y="1681"/>
                    <a:pt x="0" y="1703"/>
                  </a:cubicBezTo>
                  <a:cubicBezTo>
                    <a:pt x="0" y="1714"/>
                    <a:pt x="11" y="1714"/>
                    <a:pt x="22" y="1725"/>
                  </a:cubicBezTo>
                  <a:cubicBezTo>
                    <a:pt x="44" y="1759"/>
                    <a:pt x="145" y="1826"/>
                    <a:pt x="224" y="1838"/>
                  </a:cubicBezTo>
                  <a:cubicBezTo>
                    <a:pt x="302" y="1849"/>
                    <a:pt x="448" y="1894"/>
                    <a:pt x="504" y="1916"/>
                  </a:cubicBezTo>
                  <a:cubicBezTo>
                    <a:pt x="549" y="1949"/>
                    <a:pt x="605" y="2017"/>
                    <a:pt x="638" y="2028"/>
                  </a:cubicBezTo>
                  <a:cubicBezTo>
                    <a:pt x="661" y="2051"/>
                    <a:pt x="672" y="2039"/>
                    <a:pt x="683" y="2028"/>
                  </a:cubicBezTo>
                  <a:cubicBezTo>
                    <a:pt x="706" y="2017"/>
                    <a:pt x="862" y="2006"/>
                    <a:pt x="975" y="2017"/>
                  </a:cubicBezTo>
                  <a:cubicBezTo>
                    <a:pt x="1075" y="2039"/>
                    <a:pt x="1221" y="2118"/>
                    <a:pt x="1300" y="2140"/>
                  </a:cubicBezTo>
                  <a:cubicBezTo>
                    <a:pt x="1367" y="2162"/>
                    <a:pt x="1468" y="2162"/>
                    <a:pt x="1535" y="2140"/>
                  </a:cubicBezTo>
                  <a:cubicBezTo>
                    <a:pt x="1602" y="2118"/>
                    <a:pt x="1737" y="2107"/>
                    <a:pt x="1782" y="2073"/>
                  </a:cubicBezTo>
                  <a:cubicBezTo>
                    <a:pt x="1838" y="2039"/>
                    <a:pt x="1849" y="2017"/>
                    <a:pt x="1882" y="2006"/>
                  </a:cubicBezTo>
                  <a:cubicBezTo>
                    <a:pt x="1916" y="1994"/>
                    <a:pt x="1983" y="1983"/>
                    <a:pt x="2051" y="1961"/>
                  </a:cubicBezTo>
                  <a:cubicBezTo>
                    <a:pt x="2107" y="1927"/>
                    <a:pt x="2230" y="1882"/>
                    <a:pt x="2275" y="1838"/>
                  </a:cubicBezTo>
                  <a:cubicBezTo>
                    <a:pt x="2331" y="1793"/>
                    <a:pt x="2331" y="1793"/>
                    <a:pt x="2331" y="1770"/>
                  </a:cubicBezTo>
                  <a:cubicBezTo>
                    <a:pt x="2331" y="1737"/>
                    <a:pt x="2331" y="1737"/>
                    <a:pt x="2375" y="1725"/>
                  </a:cubicBezTo>
                  <a:cubicBezTo>
                    <a:pt x="2420" y="1714"/>
                    <a:pt x="2488" y="1725"/>
                    <a:pt x="2521" y="1737"/>
                  </a:cubicBezTo>
                  <a:cubicBezTo>
                    <a:pt x="2555" y="1737"/>
                    <a:pt x="2566" y="1714"/>
                    <a:pt x="2544" y="1714"/>
                  </a:cubicBezTo>
                  <a:cubicBezTo>
                    <a:pt x="2521" y="1714"/>
                    <a:pt x="2476" y="1681"/>
                    <a:pt x="2443" y="1681"/>
                  </a:cubicBezTo>
                  <a:cubicBezTo>
                    <a:pt x="2420" y="1669"/>
                    <a:pt x="2398" y="1647"/>
                    <a:pt x="2443" y="1647"/>
                  </a:cubicBezTo>
                  <a:cubicBezTo>
                    <a:pt x="2476" y="1647"/>
                    <a:pt x="2510" y="1658"/>
                    <a:pt x="2521" y="1647"/>
                  </a:cubicBezTo>
                  <a:cubicBezTo>
                    <a:pt x="2533" y="1647"/>
                    <a:pt x="2533" y="1636"/>
                    <a:pt x="2510" y="1625"/>
                  </a:cubicBezTo>
                  <a:cubicBezTo>
                    <a:pt x="2499" y="1602"/>
                    <a:pt x="2521" y="1580"/>
                    <a:pt x="2544" y="1580"/>
                  </a:cubicBezTo>
                  <a:cubicBezTo>
                    <a:pt x="2566" y="1591"/>
                    <a:pt x="2600" y="1602"/>
                    <a:pt x="2600" y="1613"/>
                  </a:cubicBezTo>
                  <a:cubicBezTo>
                    <a:pt x="2611" y="1636"/>
                    <a:pt x="2577" y="1647"/>
                    <a:pt x="2589" y="1669"/>
                  </a:cubicBezTo>
                  <a:cubicBezTo>
                    <a:pt x="2589" y="1692"/>
                    <a:pt x="2600" y="1703"/>
                    <a:pt x="2622" y="1692"/>
                  </a:cubicBezTo>
                  <a:cubicBezTo>
                    <a:pt x="2633" y="1681"/>
                    <a:pt x="2633" y="1647"/>
                    <a:pt x="2644" y="1636"/>
                  </a:cubicBezTo>
                  <a:cubicBezTo>
                    <a:pt x="2656" y="1625"/>
                    <a:pt x="2678" y="1625"/>
                    <a:pt x="2700" y="1613"/>
                  </a:cubicBezTo>
                  <a:cubicBezTo>
                    <a:pt x="2712" y="1602"/>
                    <a:pt x="2734" y="1602"/>
                    <a:pt x="2745" y="1625"/>
                  </a:cubicBezTo>
                  <a:cubicBezTo>
                    <a:pt x="2757" y="1636"/>
                    <a:pt x="2757" y="1658"/>
                    <a:pt x="2723" y="1681"/>
                  </a:cubicBezTo>
                  <a:cubicBezTo>
                    <a:pt x="2689" y="1714"/>
                    <a:pt x="2656" y="1714"/>
                    <a:pt x="2644" y="1725"/>
                  </a:cubicBezTo>
                  <a:cubicBezTo>
                    <a:pt x="2622" y="1737"/>
                    <a:pt x="2622" y="1748"/>
                    <a:pt x="2667" y="1737"/>
                  </a:cubicBezTo>
                  <a:cubicBezTo>
                    <a:pt x="2723" y="1737"/>
                    <a:pt x="2779" y="1725"/>
                    <a:pt x="2824" y="1725"/>
                  </a:cubicBezTo>
                  <a:cubicBezTo>
                    <a:pt x="2846" y="1725"/>
                    <a:pt x="2857" y="1725"/>
                    <a:pt x="2880" y="1725"/>
                  </a:cubicBezTo>
                  <a:cubicBezTo>
                    <a:pt x="2902" y="1737"/>
                    <a:pt x="2925" y="1737"/>
                    <a:pt x="2936" y="1748"/>
                  </a:cubicBezTo>
                  <a:cubicBezTo>
                    <a:pt x="2969" y="1759"/>
                    <a:pt x="3048" y="1793"/>
                    <a:pt x="3104" y="1804"/>
                  </a:cubicBezTo>
                  <a:cubicBezTo>
                    <a:pt x="3115" y="1782"/>
                    <a:pt x="3115" y="1748"/>
                    <a:pt x="3126" y="1725"/>
                  </a:cubicBezTo>
                  <a:cubicBezTo>
                    <a:pt x="3126" y="1692"/>
                    <a:pt x="3126" y="1669"/>
                    <a:pt x="3149" y="1669"/>
                  </a:cubicBezTo>
                  <a:cubicBezTo>
                    <a:pt x="3171" y="1658"/>
                    <a:pt x="3171" y="1569"/>
                    <a:pt x="3160" y="1535"/>
                  </a:cubicBezTo>
                  <a:cubicBezTo>
                    <a:pt x="3149" y="1490"/>
                    <a:pt x="3070" y="1501"/>
                    <a:pt x="3070" y="1501"/>
                  </a:cubicBezTo>
                  <a:cubicBezTo>
                    <a:pt x="3227" y="1042"/>
                    <a:pt x="3227" y="1042"/>
                    <a:pt x="3227" y="1042"/>
                  </a:cubicBezTo>
                  <a:cubicBezTo>
                    <a:pt x="2533" y="1053"/>
                    <a:pt x="2533" y="1053"/>
                    <a:pt x="2533" y="1053"/>
                  </a:cubicBezTo>
                  <a:cubicBezTo>
                    <a:pt x="2533" y="941"/>
                    <a:pt x="2533" y="941"/>
                    <a:pt x="2533" y="941"/>
                  </a:cubicBezTo>
                  <a:cubicBezTo>
                    <a:pt x="2533" y="941"/>
                    <a:pt x="2431" y="941"/>
                    <a:pt x="2420" y="930"/>
                  </a:cubicBezTo>
                  <a:cubicBezTo>
                    <a:pt x="2409" y="907"/>
                    <a:pt x="2387" y="896"/>
                    <a:pt x="2364" y="896"/>
                  </a:cubicBezTo>
                  <a:cubicBezTo>
                    <a:pt x="2353" y="907"/>
                    <a:pt x="2342" y="851"/>
                    <a:pt x="2342" y="818"/>
                  </a:cubicBezTo>
                  <a:cubicBezTo>
                    <a:pt x="2353" y="784"/>
                    <a:pt x="2342" y="784"/>
                    <a:pt x="2308" y="784"/>
                  </a:cubicBezTo>
                  <a:cubicBezTo>
                    <a:pt x="2286" y="784"/>
                    <a:pt x="2297" y="751"/>
                    <a:pt x="2308" y="739"/>
                  </a:cubicBezTo>
                  <a:cubicBezTo>
                    <a:pt x="2331" y="728"/>
                    <a:pt x="2331" y="627"/>
                    <a:pt x="2308" y="627"/>
                  </a:cubicBezTo>
                  <a:cubicBezTo>
                    <a:pt x="2286" y="627"/>
                    <a:pt x="2275" y="650"/>
                    <a:pt x="2252" y="650"/>
                  </a:cubicBezTo>
                  <a:cubicBezTo>
                    <a:pt x="2219" y="638"/>
                    <a:pt x="2207" y="672"/>
                    <a:pt x="2207" y="706"/>
                  </a:cubicBezTo>
                  <a:cubicBezTo>
                    <a:pt x="2196" y="728"/>
                    <a:pt x="2162" y="751"/>
                    <a:pt x="2140" y="762"/>
                  </a:cubicBezTo>
                  <a:cubicBezTo>
                    <a:pt x="2118" y="762"/>
                    <a:pt x="2118" y="795"/>
                    <a:pt x="2095" y="807"/>
                  </a:cubicBezTo>
                  <a:cubicBezTo>
                    <a:pt x="2073" y="829"/>
                    <a:pt x="2073" y="818"/>
                    <a:pt x="2039" y="818"/>
                  </a:cubicBezTo>
                  <a:cubicBezTo>
                    <a:pt x="2006" y="818"/>
                    <a:pt x="1972" y="829"/>
                    <a:pt x="1950" y="795"/>
                  </a:cubicBezTo>
                  <a:cubicBezTo>
                    <a:pt x="1938" y="773"/>
                    <a:pt x="1894" y="728"/>
                    <a:pt x="1860" y="717"/>
                  </a:cubicBezTo>
                  <a:cubicBezTo>
                    <a:pt x="1826" y="706"/>
                    <a:pt x="1815" y="672"/>
                    <a:pt x="1838" y="661"/>
                  </a:cubicBezTo>
                  <a:cubicBezTo>
                    <a:pt x="1871" y="650"/>
                    <a:pt x="1849" y="582"/>
                    <a:pt x="1871" y="582"/>
                  </a:cubicBezTo>
                  <a:cubicBezTo>
                    <a:pt x="1894" y="582"/>
                    <a:pt x="1916" y="538"/>
                    <a:pt x="1905" y="493"/>
                  </a:cubicBezTo>
                  <a:cubicBezTo>
                    <a:pt x="1882" y="448"/>
                    <a:pt x="1860" y="358"/>
                    <a:pt x="1838" y="369"/>
                  </a:cubicBezTo>
                  <a:cubicBezTo>
                    <a:pt x="1815" y="381"/>
                    <a:pt x="1759" y="403"/>
                    <a:pt x="1726" y="392"/>
                  </a:cubicBezTo>
                  <a:cubicBezTo>
                    <a:pt x="1681" y="381"/>
                    <a:pt x="1636" y="403"/>
                    <a:pt x="1613" y="392"/>
                  </a:cubicBezTo>
                  <a:cubicBezTo>
                    <a:pt x="1602" y="369"/>
                    <a:pt x="1602" y="325"/>
                    <a:pt x="1569" y="291"/>
                  </a:cubicBezTo>
                  <a:cubicBezTo>
                    <a:pt x="1535" y="269"/>
                    <a:pt x="1513" y="258"/>
                    <a:pt x="1502" y="224"/>
                  </a:cubicBezTo>
                  <a:cubicBezTo>
                    <a:pt x="1490" y="190"/>
                    <a:pt x="1502" y="168"/>
                    <a:pt x="1412" y="89"/>
                  </a:cubicBezTo>
                  <a:cubicBezTo>
                    <a:pt x="1322" y="22"/>
                    <a:pt x="1322" y="0"/>
                    <a:pt x="1289" y="11"/>
                  </a:cubicBezTo>
                  <a:cubicBezTo>
                    <a:pt x="1266" y="11"/>
                    <a:pt x="1255" y="33"/>
                    <a:pt x="1277" y="67"/>
                  </a:cubicBezTo>
                  <a:cubicBezTo>
                    <a:pt x="1300" y="89"/>
                    <a:pt x="1311" y="168"/>
                    <a:pt x="1289" y="201"/>
                  </a:cubicBezTo>
                  <a:cubicBezTo>
                    <a:pt x="1277" y="224"/>
                    <a:pt x="1255" y="235"/>
                    <a:pt x="1244" y="235"/>
                  </a:cubicBezTo>
                  <a:cubicBezTo>
                    <a:pt x="1244" y="246"/>
                    <a:pt x="1233" y="246"/>
                    <a:pt x="1233" y="246"/>
                  </a:cubicBezTo>
                  <a:cubicBezTo>
                    <a:pt x="1210" y="269"/>
                    <a:pt x="1210" y="291"/>
                    <a:pt x="1210" y="325"/>
                  </a:cubicBezTo>
                  <a:cubicBezTo>
                    <a:pt x="1199" y="358"/>
                    <a:pt x="1199" y="358"/>
                    <a:pt x="1154" y="347"/>
                  </a:cubicBezTo>
                  <a:cubicBezTo>
                    <a:pt x="1120" y="347"/>
                    <a:pt x="1098" y="358"/>
                    <a:pt x="1087" y="392"/>
                  </a:cubicBezTo>
                  <a:cubicBezTo>
                    <a:pt x="1064" y="414"/>
                    <a:pt x="1020" y="425"/>
                    <a:pt x="986" y="414"/>
                  </a:cubicBezTo>
                  <a:cubicBezTo>
                    <a:pt x="941" y="392"/>
                    <a:pt x="952" y="403"/>
                    <a:pt x="907" y="414"/>
                  </a:cubicBezTo>
                  <a:cubicBezTo>
                    <a:pt x="862" y="425"/>
                    <a:pt x="829" y="437"/>
                    <a:pt x="818" y="459"/>
                  </a:cubicBezTo>
                  <a:cubicBezTo>
                    <a:pt x="807" y="493"/>
                    <a:pt x="784" y="482"/>
                    <a:pt x="784" y="504"/>
                  </a:cubicBezTo>
                  <a:cubicBezTo>
                    <a:pt x="773" y="527"/>
                    <a:pt x="751" y="527"/>
                    <a:pt x="728" y="493"/>
                  </a:cubicBezTo>
                  <a:cubicBezTo>
                    <a:pt x="717" y="459"/>
                    <a:pt x="695" y="425"/>
                    <a:pt x="672" y="414"/>
                  </a:cubicBezTo>
                  <a:cubicBezTo>
                    <a:pt x="650" y="403"/>
                    <a:pt x="627" y="381"/>
                    <a:pt x="627" y="358"/>
                  </a:cubicBezTo>
                  <a:cubicBezTo>
                    <a:pt x="638" y="336"/>
                    <a:pt x="616" y="313"/>
                    <a:pt x="571" y="325"/>
                  </a:cubicBezTo>
                  <a:cubicBezTo>
                    <a:pt x="526" y="336"/>
                    <a:pt x="493" y="403"/>
                    <a:pt x="482" y="425"/>
                  </a:cubicBezTo>
                  <a:cubicBezTo>
                    <a:pt x="482" y="448"/>
                    <a:pt x="493" y="470"/>
                    <a:pt x="515" y="470"/>
                  </a:cubicBezTo>
                  <a:cubicBezTo>
                    <a:pt x="538" y="470"/>
                    <a:pt x="538" y="527"/>
                    <a:pt x="571" y="515"/>
                  </a:cubicBezTo>
                  <a:cubicBezTo>
                    <a:pt x="605" y="515"/>
                    <a:pt x="549" y="549"/>
                    <a:pt x="526" y="571"/>
                  </a:cubicBezTo>
                  <a:cubicBezTo>
                    <a:pt x="515" y="594"/>
                    <a:pt x="493" y="594"/>
                    <a:pt x="459" y="582"/>
                  </a:cubicBezTo>
                  <a:cubicBezTo>
                    <a:pt x="414" y="560"/>
                    <a:pt x="313" y="560"/>
                    <a:pt x="302" y="582"/>
                  </a:cubicBezTo>
                  <a:cubicBezTo>
                    <a:pt x="280" y="616"/>
                    <a:pt x="257" y="638"/>
                    <a:pt x="224" y="627"/>
                  </a:cubicBezTo>
                  <a:cubicBezTo>
                    <a:pt x="202" y="616"/>
                    <a:pt x="145" y="605"/>
                    <a:pt x="123" y="627"/>
                  </a:cubicBezTo>
                  <a:lnTo>
                    <a:pt x="123" y="627"/>
                  </a:lnTo>
                  <a:cubicBezTo>
                    <a:pt x="145" y="638"/>
                    <a:pt x="145" y="672"/>
                    <a:pt x="123" y="68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" name="Freeform 33"/>
            <p:cNvSpPr>
              <a:spLocks noChangeArrowheads="1"/>
            </p:cNvSpPr>
            <p:nvPr/>
          </p:nvSpPr>
          <p:spPr bwMode="auto">
            <a:xfrm>
              <a:off x="6624147" y="4569946"/>
              <a:ext cx="541141" cy="738625"/>
            </a:xfrm>
            <a:custGeom>
              <a:avLst/>
              <a:gdLst>
                <a:gd name="T0" fmla="*/ 11 w 1559"/>
                <a:gd name="T1" fmla="*/ 1838 h 2130"/>
                <a:gd name="T2" fmla="*/ 123 w 1559"/>
                <a:gd name="T3" fmla="*/ 1928 h 2130"/>
                <a:gd name="T4" fmla="*/ 190 w 1559"/>
                <a:gd name="T5" fmla="*/ 2006 h 2130"/>
                <a:gd name="T6" fmla="*/ 291 w 1559"/>
                <a:gd name="T7" fmla="*/ 2085 h 2130"/>
                <a:gd name="T8" fmla="*/ 403 w 1559"/>
                <a:gd name="T9" fmla="*/ 2040 h 2130"/>
                <a:gd name="T10" fmla="*/ 538 w 1559"/>
                <a:gd name="T11" fmla="*/ 2118 h 2130"/>
                <a:gd name="T12" fmla="*/ 773 w 1559"/>
                <a:gd name="T13" fmla="*/ 2073 h 2130"/>
                <a:gd name="T14" fmla="*/ 885 w 1559"/>
                <a:gd name="T15" fmla="*/ 2006 h 2130"/>
                <a:gd name="T16" fmla="*/ 796 w 1559"/>
                <a:gd name="T17" fmla="*/ 1916 h 2130"/>
                <a:gd name="T18" fmla="*/ 941 w 1559"/>
                <a:gd name="T19" fmla="*/ 1849 h 2130"/>
                <a:gd name="T20" fmla="*/ 1042 w 1559"/>
                <a:gd name="T21" fmla="*/ 1984 h 2130"/>
                <a:gd name="T22" fmla="*/ 1132 w 1559"/>
                <a:gd name="T23" fmla="*/ 1950 h 2130"/>
                <a:gd name="T24" fmla="*/ 1300 w 1559"/>
                <a:gd name="T25" fmla="*/ 1905 h 2130"/>
                <a:gd name="T26" fmla="*/ 1468 w 1559"/>
                <a:gd name="T27" fmla="*/ 1838 h 2130"/>
                <a:gd name="T28" fmla="*/ 1547 w 1559"/>
                <a:gd name="T29" fmla="*/ 1737 h 2130"/>
                <a:gd name="T30" fmla="*/ 1547 w 1559"/>
                <a:gd name="T31" fmla="*/ 1715 h 2130"/>
                <a:gd name="T32" fmla="*/ 1367 w 1559"/>
                <a:gd name="T33" fmla="*/ 1636 h 2130"/>
                <a:gd name="T34" fmla="*/ 1255 w 1559"/>
                <a:gd name="T35" fmla="*/ 1558 h 2130"/>
                <a:gd name="T36" fmla="*/ 1176 w 1559"/>
                <a:gd name="T37" fmla="*/ 1435 h 2130"/>
                <a:gd name="T38" fmla="*/ 1188 w 1559"/>
                <a:gd name="T39" fmla="*/ 1334 h 2130"/>
                <a:gd name="T40" fmla="*/ 1244 w 1559"/>
                <a:gd name="T41" fmla="*/ 1211 h 2130"/>
                <a:gd name="T42" fmla="*/ 1345 w 1559"/>
                <a:gd name="T43" fmla="*/ 1199 h 2130"/>
                <a:gd name="T44" fmla="*/ 1367 w 1559"/>
                <a:gd name="T45" fmla="*/ 1076 h 2130"/>
                <a:gd name="T46" fmla="*/ 1221 w 1559"/>
                <a:gd name="T47" fmla="*/ 1054 h 2130"/>
                <a:gd name="T48" fmla="*/ 1109 w 1559"/>
                <a:gd name="T49" fmla="*/ 964 h 2130"/>
                <a:gd name="T50" fmla="*/ 1132 w 1559"/>
                <a:gd name="T51" fmla="*/ 829 h 2130"/>
                <a:gd name="T52" fmla="*/ 1199 w 1559"/>
                <a:gd name="T53" fmla="*/ 605 h 2130"/>
                <a:gd name="T54" fmla="*/ 1221 w 1559"/>
                <a:gd name="T55" fmla="*/ 493 h 2130"/>
                <a:gd name="T56" fmla="*/ 1065 w 1559"/>
                <a:gd name="T57" fmla="*/ 437 h 2130"/>
                <a:gd name="T58" fmla="*/ 964 w 1559"/>
                <a:gd name="T59" fmla="*/ 516 h 2130"/>
                <a:gd name="T60" fmla="*/ 852 w 1559"/>
                <a:gd name="T61" fmla="*/ 292 h 2130"/>
                <a:gd name="T62" fmla="*/ 964 w 1559"/>
                <a:gd name="T63" fmla="*/ 280 h 2130"/>
                <a:gd name="T64" fmla="*/ 840 w 1559"/>
                <a:gd name="T65" fmla="*/ 180 h 2130"/>
                <a:gd name="T66" fmla="*/ 773 w 1559"/>
                <a:gd name="T67" fmla="*/ 11 h 2130"/>
                <a:gd name="T68" fmla="*/ 695 w 1559"/>
                <a:gd name="T69" fmla="*/ 224 h 2130"/>
                <a:gd name="T70" fmla="*/ 639 w 1559"/>
                <a:gd name="T71" fmla="*/ 280 h 2130"/>
                <a:gd name="T72" fmla="*/ 527 w 1559"/>
                <a:gd name="T73" fmla="*/ 404 h 2130"/>
                <a:gd name="T74" fmla="*/ 538 w 1559"/>
                <a:gd name="T75" fmla="*/ 449 h 2130"/>
                <a:gd name="T76" fmla="*/ 560 w 1559"/>
                <a:gd name="T77" fmla="*/ 616 h 2130"/>
                <a:gd name="T78" fmla="*/ 549 w 1559"/>
                <a:gd name="T79" fmla="*/ 829 h 2130"/>
                <a:gd name="T80" fmla="*/ 706 w 1559"/>
                <a:gd name="T81" fmla="*/ 852 h 2130"/>
                <a:gd name="T82" fmla="*/ 796 w 1559"/>
                <a:gd name="T83" fmla="*/ 964 h 2130"/>
                <a:gd name="T84" fmla="*/ 930 w 1559"/>
                <a:gd name="T85" fmla="*/ 1054 h 2130"/>
                <a:gd name="T86" fmla="*/ 807 w 1559"/>
                <a:gd name="T87" fmla="*/ 1121 h 2130"/>
                <a:gd name="T88" fmla="*/ 706 w 1559"/>
                <a:gd name="T89" fmla="*/ 1166 h 2130"/>
                <a:gd name="T90" fmla="*/ 549 w 1559"/>
                <a:gd name="T91" fmla="*/ 1255 h 2130"/>
                <a:gd name="T92" fmla="*/ 403 w 1559"/>
                <a:gd name="T93" fmla="*/ 1132 h 2130"/>
                <a:gd name="T94" fmla="*/ 247 w 1559"/>
                <a:gd name="T95" fmla="*/ 1020 h 2130"/>
                <a:gd name="T96" fmla="*/ 269 w 1559"/>
                <a:gd name="T97" fmla="*/ 1188 h 2130"/>
                <a:gd name="T98" fmla="*/ 258 w 1559"/>
                <a:gd name="T99" fmla="*/ 1390 h 2130"/>
                <a:gd name="T100" fmla="*/ 213 w 1559"/>
                <a:gd name="T101" fmla="*/ 1569 h 2130"/>
                <a:gd name="T102" fmla="*/ 247 w 1559"/>
                <a:gd name="T103" fmla="*/ 1726 h 2130"/>
                <a:gd name="T104" fmla="*/ 112 w 1559"/>
                <a:gd name="T105" fmla="*/ 1726 h 2130"/>
                <a:gd name="T106" fmla="*/ 0 w 1559"/>
                <a:gd name="T107" fmla="*/ 1804 h 2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9" h="2130">
                  <a:moveTo>
                    <a:pt x="11" y="1838"/>
                  </a:moveTo>
                  <a:lnTo>
                    <a:pt x="11" y="1838"/>
                  </a:lnTo>
                  <a:cubicBezTo>
                    <a:pt x="11" y="1860"/>
                    <a:pt x="11" y="1860"/>
                    <a:pt x="45" y="1883"/>
                  </a:cubicBezTo>
                  <a:cubicBezTo>
                    <a:pt x="67" y="1894"/>
                    <a:pt x="112" y="1905"/>
                    <a:pt x="123" y="1928"/>
                  </a:cubicBezTo>
                  <a:cubicBezTo>
                    <a:pt x="123" y="1950"/>
                    <a:pt x="123" y="1984"/>
                    <a:pt x="134" y="1995"/>
                  </a:cubicBezTo>
                  <a:cubicBezTo>
                    <a:pt x="134" y="2006"/>
                    <a:pt x="179" y="1984"/>
                    <a:pt x="190" y="2006"/>
                  </a:cubicBezTo>
                  <a:cubicBezTo>
                    <a:pt x="190" y="2029"/>
                    <a:pt x="202" y="2062"/>
                    <a:pt x="224" y="2062"/>
                  </a:cubicBezTo>
                  <a:cubicBezTo>
                    <a:pt x="247" y="2062"/>
                    <a:pt x="258" y="2096"/>
                    <a:pt x="291" y="2085"/>
                  </a:cubicBezTo>
                  <a:cubicBezTo>
                    <a:pt x="314" y="2062"/>
                    <a:pt x="325" y="2051"/>
                    <a:pt x="347" y="2051"/>
                  </a:cubicBezTo>
                  <a:cubicBezTo>
                    <a:pt x="370" y="2051"/>
                    <a:pt x="392" y="2029"/>
                    <a:pt x="403" y="2040"/>
                  </a:cubicBezTo>
                  <a:cubicBezTo>
                    <a:pt x="414" y="2051"/>
                    <a:pt x="426" y="2096"/>
                    <a:pt x="437" y="2118"/>
                  </a:cubicBezTo>
                  <a:cubicBezTo>
                    <a:pt x="459" y="2096"/>
                    <a:pt x="516" y="2107"/>
                    <a:pt x="538" y="2118"/>
                  </a:cubicBezTo>
                  <a:cubicBezTo>
                    <a:pt x="571" y="2129"/>
                    <a:pt x="594" y="2107"/>
                    <a:pt x="616" y="2073"/>
                  </a:cubicBezTo>
                  <a:cubicBezTo>
                    <a:pt x="627" y="2051"/>
                    <a:pt x="728" y="2051"/>
                    <a:pt x="773" y="2073"/>
                  </a:cubicBezTo>
                  <a:cubicBezTo>
                    <a:pt x="807" y="2085"/>
                    <a:pt x="829" y="2085"/>
                    <a:pt x="840" y="2062"/>
                  </a:cubicBezTo>
                  <a:cubicBezTo>
                    <a:pt x="863" y="2040"/>
                    <a:pt x="919" y="2006"/>
                    <a:pt x="885" y="2006"/>
                  </a:cubicBezTo>
                  <a:cubicBezTo>
                    <a:pt x="852" y="2018"/>
                    <a:pt x="852" y="1961"/>
                    <a:pt x="829" y="1961"/>
                  </a:cubicBezTo>
                  <a:cubicBezTo>
                    <a:pt x="807" y="1961"/>
                    <a:pt x="796" y="1939"/>
                    <a:pt x="796" y="1916"/>
                  </a:cubicBezTo>
                  <a:cubicBezTo>
                    <a:pt x="807" y="1894"/>
                    <a:pt x="840" y="1827"/>
                    <a:pt x="885" y="1816"/>
                  </a:cubicBezTo>
                  <a:cubicBezTo>
                    <a:pt x="930" y="1804"/>
                    <a:pt x="952" y="1827"/>
                    <a:pt x="941" y="1849"/>
                  </a:cubicBezTo>
                  <a:cubicBezTo>
                    <a:pt x="941" y="1872"/>
                    <a:pt x="964" y="1894"/>
                    <a:pt x="986" y="1905"/>
                  </a:cubicBezTo>
                  <a:cubicBezTo>
                    <a:pt x="1009" y="1916"/>
                    <a:pt x="1031" y="1950"/>
                    <a:pt x="1042" y="1984"/>
                  </a:cubicBezTo>
                  <a:cubicBezTo>
                    <a:pt x="1065" y="2018"/>
                    <a:pt x="1087" y="2018"/>
                    <a:pt x="1098" y="1995"/>
                  </a:cubicBezTo>
                  <a:cubicBezTo>
                    <a:pt x="1098" y="1973"/>
                    <a:pt x="1121" y="1984"/>
                    <a:pt x="1132" y="1950"/>
                  </a:cubicBezTo>
                  <a:cubicBezTo>
                    <a:pt x="1143" y="1928"/>
                    <a:pt x="1176" y="1916"/>
                    <a:pt x="1221" y="1905"/>
                  </a:cubicBezTo>
                  <a:cubicBezTo>
                    <a:pt x="1266" y="1894"/>
                    <a:pt x="1255" y="1883"/>
                    <a:pt x="1300" y="1905"/>
                  </a:cubicBezTo>
                  <a:cubicBezTo>
                    <a:pt x="1334" y="1916"/>
                    <a:pt x="1378" y="1905"/>
                    <a:pt x="1401" y="1883"/>
                  </a:cubicBezTo>
                  <a:cubicBezTo>
                    <a:pt x="1412" y="1849"/>
                    <a:pt x="1434" y="1838"/>
                    <a:pt x="1468" y="1838"/>
                  </a:cubicBezTo>
                  <a:cubicBezTo>
                    <a:pt x="1513" y="1849"/>
                    <a:pt x="1513" y="1849"/>
                    <a:pt x="1524" y="1816"/>
                  </a:cubicBezTo>
                  <a:cubicBezTo>
                    <a:pt x="1524" y="1782"/>
                    <a:pt x="1524" y="1760"/>
                    <a:pt x="1547" y="1737"/>
                  </a:cubicBezTo>
                  <a:cubicBezTo>
                    <a:pt x="1547" y="1737"/>
                    <a:pt x="1558" y="1737"/>
                    <a:pt x="1558" y="1726"/>
                  </a:cubicBezTo>
                  <a:cubicBezTo>
                    <a:pt x="1547" y="1726"/>
                    <a:pt x="1547" y="1726"/>
                    <a:pt x="1547" y="1715"/>
                  </a:cubicBezTo>
                  <a:cubicBezTo>
                    <a:pt x="1547" y="1681"/>
                    <a:pt x="1502" y="1659"/>
                    <a:pt x="1468" y="1636"/>
                  </a:cubicBezTo>
                  <a:cubicBezTo>
                    <a:pt x="1434" y="1614"/>
                    <a:pt x="1401" y="1603"/>
                    <a:pt x="1367" y="1636"/>
                  </a:cubicBezTo>
                  <a:cubicBezTo>
                    <a:pt x="1345" y="1670"/>
                    <a:pt x="1322" y="1681"/>
                    <a:pt x="1311" y="1647"/>
                  </a:cubicBezTo>
                  <a:cubicBezTo>
                    <a:pt x="1300" y="1614"/>
                    <a:pt x="1289" y="1547"/>
                    <a:pt x="1255" y="1558"/>
                  </a:cubicBezTo>
                  <a:cubicBezTo>
                    <a:pt x="1210" y="1569"/>
                    <a:pt x="1188" y="1547"/>
                    <a:pt x="1176" y="1513"/>
                  </a:cubicBezTo>
                  <a:cubicBezTo>
                    <a:pt x="1154" y="1480"/>
                    <a:pt x="1154" y="1446"/>
                    <a:pt x="1176" y="1435"/>
                  </a:cubicBezTo>
                  <a:cubicBezTo>
                    <a:pt x="1188" y="1423"/>
                    <a:pt x="1165" y="1378"/>
                    <a:pt x="1188" y="1378"/>
                  </a:cubicBezTo>
                  <a:cubicBezTo>
                    <a:pt x="1210" y="1367"/>
                    <a:pt x="1210" y="1356"/>
                    <a:pt x="1188" y="1334"/>
                  </a:cubicBezTo>
                  <a:cubicBezTo>
                    <a:pt x="1176" y="1311"/>
                    <a:pt x="1176" y="1278"/>
                    <a:pt x="1199" y="1267"/>
                  </a:cubicBezTo>
                  <a:cubicBezTo>
                    <a:pt x="1233" y="1255"/>
                    <a:pt x="1233" y="1244"/>
                    <a:pt x="1244" y="1211"/>
                  </a:cubicBezTo>
                  <a:cubicBezTo>
                    <a:pt x="1244" y="1188"/>
                    <a:pt x="1266" y="1154"/>
                    <a:pt x="1289" y="1177"/>
                  </a:cubicBezTo>
                  <a:cubicBezTo>
                    <a:pt x="1311" y="1211"/>
                    <a:pt x="1334" y="1211"/>
                    <a:pt x="1345" y="1199"/>
                  </a:cubicBezTo>
                  <a:cubicBezTo>
                    <a:pt x="1356" y="1177"/>
                    <a:pt x="1322" y="1166"/>
                    <a:pt x="1356" y="1143"/>
                  </a:cubicBezTo>
                  <a:cubicBezTo>
                    <a:pt x="1378" y="1121"/>
                    <a:pt x="1367" y="1110"/>
                    <a:pt x="1367" y="1076"/>
                  </a:cubicBezTo>
                  <a:cubicBezTo>
                    <a:pt x="1356" y="1054"/>
                    <a:pt x="1356" y="1042"/>
                    <a:pt x="1322" y="1065"/>
                  </a:cubicBezTo>
                  <a:cubicBezTo>
                    <a:pt x="1300" y="1087"/>
                    <a:pt x="1233" y="1087"/>
                    <a:pt x="1221" y="1054"/>
                  </a:cubicBezTo>
                  <a:cubicBezTo>
                    <a:pt x="1210" y="1020"/>
                    <a:pt x="1210" y="1020"/>
                    <a:pt x="1165" y="1020"/>
                  </a:cubicBezTo>
                  <a:cubicBezTo>
                    <a:pt x="1132" y="1020"/>
                    <a:pt x="1143" y="987"/>
                    <a:pt x="1109" y="964"/>
                  </a:cubicBezTo>
                  <a:cubicBezTo>
                    <a:pt x="1076" y="942"/>
                    <a:pt x="1076" y="897"/>
                    <a:pt x="1087" y="863"/>
                  </a:cubicBezTo>
                  <a:cubicBezTo>
                    <a:pt x="1087" y="841"/>
                    <a:pt x="1132" y="863"/>
                    <a:pt x="1132" y="829"/>
                  </a:cubicBezTo>
                  <a:cubicBezTo>
                    <a:pt x="1143" y="796"/>
                    <a:pt x="1132" y="740"/>
                    <a:pt x="1143" y="695"/>
                  </a:cubicBezTo>
                  <a:cubicBezTo>
                    <a:pt x="1165" y="661"/>
                    <a:pt x="1188" y="628"/>
                    <a:pt x="1199" y="605"/>
                  </a:cubicBezTo>
                  <a:cubicBezTo>
                    <a:pt x="1199" y="572"/>
                    <a:pt x="1199" y="560"/>
                    <a:pt x="1221" y="549"/>
                  </a:cubicBezTo>
                  <a:cubicBezTo>
                    <a:pt x="1255" y="538"/>
                    <a:pt x="1255" y="516"/>
                    <a:pt x="1221" y="493"/>
                  </a:cubicBezTo>
                  <a:cubicBezTo>
                    <a:pt x="1188" y="471"/>
                    <a:pt x="1143" y="482"/>
                    <a:pt x="1121" y="471"/>
                  </a:cubicBezTo>
                  <a:cubicBezTo>
                    <a:pt x="1098" y="449"/>
                    <a:pt x="1076" y="426"/>
                    <a:pt x="1065" y="437"/>
                  </a:cubicBezTo>
                  <a:cubicBezTo>
                    <a:pt x="1042" y="449"/>
                    <a:pt x="1031" y="471"/>
                    <a:pt x="1020" y="493"/>
                  </a:cubicBezTo>
                  <a:cubicBezTo>
                    <a:pt x="1009" y="527"/>
                    <a:pt x="986" y="538"/>
                    <a:pt x="964" y="516"/>
                  </a:cubicBezTo>
                  <a:cubicBezTo>
                    <a:pt x="930" y="493"/>
                    <a:pt x="885" y="482"/>
                    <a:pt x="874" y="449"/>
                  </a:cubicBezTo>
                  <a:cubicBezTo>
                    <a:pt x="863" y="415"/>
                    <a:pt x="818" y="292"/>
                    <a:pt x="852" y="292"/>
                  </a:cubicBezTo>
                  <a:cubicBezTo>
                    <a:pt x="885" y="292"/>
                    <a:pt x="908" y="325"/>
                    <a:pt x="930" y="325"/>
                  </a:cubicBezTo>
                  <a:cubicBezTo>
                    <a:pt x="941" y="325"/>
                    <a:pt x="941" y="314"/>
                    <a:pt x="964" y="280"/>
                  </a:cubicBezTo>
                  <a:cubicBezTo>
                    <a:pt x="986" y="247"/>
                    <a:pt x="997" y="213"/>
                    <a:pt x="964" y="224"/>
                  </a:cubicBezTo>
                  <a:cubicBezTo>
                    <a:pt x="930" y="224"/>
                    <a:pt x="829" y="213"/>
                    <a:pt x="840" y="180"/>
                  </a:cubicBezTo>
                  <a:cubicBezTo>
                    <a:pt x="852" y="146"/>
                    <a:pt x="874" y="79"/>
                    <a:pt x="852" y="34"/>
                  </a:cubicBezTo>
                  <a:cubicBezTo>
                    <a:pt x="840" y="0"/>
                    <a:pt x="784" y="0"/>
                    <a:pt x="773" y="11"/>
                  </a:cubicBezTo>
                  <a:cubicBezTo>
                    <a:pt x="751" y="34"/>
                    <a:pt x="717" y="112"/>
                    <a:pt x="728" y="135"/>
                  </a:cubicBezTo>
                  <a:cubicBezTo>
                    <a:pt x="740" y="168"/>
                    <a:pt x="717" y="224"/>
                    <a:pt x="695" y="224"/>
                  </a:cubicBezTo>
                  <a:cubicBezTo>
                    <a:pt x="683" y="224"/>
                    <a:pt x="683" y="224"/>
                    <a:pt x="672" y="224"/>
                  </a:cubicBezTo>
                  <a:cubicBezTo>
                    <a:pt x="672" y="247"/>
                    <a:pt x="661" y="280"/>
                    <a:pt x="639" y="280"/>
                  </a:cubicBezTo>
                  <a:cubicBezTo>
                    <a:pt x="616" y="292"/>
                    <a:pt x="605" y="314"/>
                    <a:pt x="583" y="359"/>
                  </a:cubicBezTo>
                  <a:cubicBezTo>
                    <a:pt x="571" y="392"/>
                    <a:pt x="560" y="404"/>
                    <a:pt x="527" y="404"/>
                  </a:cubicBezTo>
                  <a:cubicBezTo>
                    <a:pt x="493" y="392"/>
                    <a:pt x="448" y="415"/>
                    <a:pt x="459" y="449"/>
                  </a:cubicBezTo>
                  <a:cubicBezTo>
                    <a:pt x="471" y="471"/>
                    <a:pt x="516" y="460"/>
                    <a:pt x="538" y="449"/>
                  </a:cubicBezTo>
                  <a:cubicBezTo>
                    <a:pt x="560" y="437"/>
                    <a:pt x="594" y="482"/>
                    <a:pt x="594" y="493"/>
                  </a:cubicBezTo>
                  <a:cubicBezTo>
                    <a:pt x="605" y="505"/>
                    <a:pt x="594" y="572"/>
                    <a:pt x="560" y="616"/>
                  </a:cubicBezTo>
                  <a:cubicBezTo>
                    <a:pt x="516" y="650"/>
                    <a:pt x="471" y="695"/>
                    <a:pt x="493" y="729"/>
                  </a:cubicBezTo>
                  <a:cubicBezTo>
                    <a:pt x="516" y="751"/>
                    <a:pt x="538" y="818"/>
                    <a:pt x="549" y="829"/>
                  </a:cubicBezTo>
                  <a:cubicBezTo>
                    <a:pt x="549" y="852"/>
                    <a:pt x="605" y="852"/>
                    <a:pt x="616" y="829"/>
                  </a:cubicBezTo>
                  <a:cubicBezTo>
                    <a:pt x="616" y="818"/>
                    <a:pt x="683" y="841"/>
                    <a:pt x="706" y="852"/>
                  </a:cubicBezTo>
                  <a:cubicBezTo>
                    <a:pt x="728" y="863"/>
                    <a:pt x="706" y="908"/>
                    <a:pt x="740" y="908"/>
                  </a:cubicBezTo>
                  <a:cubicBezTo>
                    <a:pt x="762" y="908"/>
                    <a:pt x="762" y="975"/>
                    <a:pt x="796" y="964"/>
                  </a:cubicBezTo>
                  <a:cubicBezTo>
                    <a:pt x="829" y="964"/>
                    <a:pt x="852" y="987"/>
                    <a:pt x="852" y="1009"/>
                  </a:cubicBezTo>
                  <a:cubicBezTo>
                    <a:pt x="852" y="1031"/>
                    <a:pt x="896" y="1042"/>
                    <a:pt x="930" y="1054"/>
                  </a:cubicBezTo>
                  <a:cubicBezTo>
                    <a:pt x="964" y="1065"/>
                    <a:pt x="997" y="1110"/>
                    <a:pt x="930" y="1110"/>
                  </a:cubicBezTo>
                  <a:cubicBezTo>
                    <a:pt x="852" y="1098"/>
                    <a:pt x="796" y="1087"/>
                    <a:pt x="807" y="1121"/>
                  </a:cubicBezTo>
                  <a:cubicBezTo>
                    <a:pt x="807" y="1154"/>
                    <a:pt x="773" y="1188"/>
                    <a:pt x="751" y="1188"/>
                  </a:cubicBezTo>
                  <a:cubicBezTo>
                    <a:pt x="728" y="1199"/>
                    <a:pt x="706" y="1188"/>
                    <a:pt x="706" y="1166"/>
                  </a:cubicBezTo>
                  <a:cubicBezTo>
                    <a:pt x="695" y="1154"/>
                    <a:pt x="650" y="1199"/>
                    <a:pt x="616" y="1233"/>
                  </a:cubicBezTo>
                  <a:cubicBezTo>
                    <a:pt x="583" y="1267"/>
                    <a:pt x="560" y="1278"/>
                    <a:pt x="549" y="1255"/>
                  </a:cubicBezTo>
                  <a:cubicBezTo>
                    <a:pt x="527" y="1233"/>
                    <a:pt x="504" y="1233"/>
                    <a:pt x="482" y="1211"/>
                  </a:cubicBezTo>
                  <a:cubicBezTo>
                    <a:pt x="459" y="1177"/>
                    <a:pt x="426" y="1177"/>
                    <a:pt x="403" y="1132"/>
                  </a:cubicBezTo>
                  <a:cubicBezTo>
                    <a:pt x="381" y="1098"/>
                    <a:pt x="370" y="1042"/>
                    <a:pt x="336" y="1020"/>
                  </a:cubicBezTo>
                  <a:cubicBezTo>
                    <a:pt x="291" y="998"/>
                    <a:pt x="247" y="975"/>
                    <a:pt x="247" y="1020"/>
                  </a:cubicBezTo>
                  <a:cubicBezTo>
                    <a:pt x="247" y="1054"/>
                    <a:pt x="224" y="1110"/>
                    <a:pt x="247" y="1110"/>
                  </a:cubicBezTo>
                  <a:cubicBezTo>
                    <a:pt x="269" y="1121"/>
                    <a:pt x="280" y="1154"/>
                    <a:pt x="269" y="1188"/>
                  </a:cubicBezTo>
                  <a:cubicBezTo>
                    <a:pt x="258" y="1211"/>
                    <a:pt x="235" y="1267"/>
                    <a:pt x="258" y="1267"/>
                  </a:cubicBezTo>
                  <a:cubicBezTo>
                    <a:pt x="291" y="1267"/>
                    <a:pt x="269" y="1367"/>
                    <a:pt x="258" y="1390"/>
                  </a:cubicBezTo>
                  <a:cubicBezTo>
                    <a:pt x="258" y="1412"/>
                    <a:pt x="247" y="1423"/>
                    <a:pt x="224" y="1446"/>
                  </a:cubicBezTo>
                  <a:cubicBezTo>
                    <a:pt x="202" y="1457"/>
                    <a:pt x="190" y="1547"/>
                    <a:pt x="213" y="1569"/>
                  </a:cubicBezTo>
                  <a:cubicBezTo>
                    <a:pt x="235" y="1591"/>
                    <a:pt x="213" y="1625"/>
                    <a:pt x="235" y="1636"/>
                  </a:cubicBezTo>
                  <a:cubicBezTo>
                    <a:pt x="258" y="1647"/>
                    <a:pt x="258" y="1715"/>
                    <a:pt x="247" y="1726"/>
                  </a:cubicBezTo>
                  <a:cubicBezTo>
                    <a:pt x="235" y="1737"/>
                    <a:pt x="179" y="1692"/>
                    <a:pt x="157" y="1681"/>
                  </a:cubicBezTo>
                  <a:cubicBezTo>
                    <a:pt x="123" y="1681"/>
                    <a:pt x="123" y="1704"/>
                    <a:pt x="112" y="1726"/>
                  </a:cubicBezTo>
                  <a:cubicBezTo>
                    <a:pt x="101" y="1749"/>
                    <a:pt x="34" y="1749"/>
                    <a:pt x="22" y="1771"/>
                  </a:cubicBezTo>
                  <a:cubicBezTo>
                    <a:pt x="22" y="1793"/>
                    <a:pt x="11" y="1804"/>
                    <a:pt x="0" y="1804"/>
                  </a:cubicBezTo>
                  <a:cubicBezTo>
                    <a:pt x="11" y="1816"/>
                    <a:pt x="11" y="1827"/>
                    <a:pt x="11" y="183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" name="Freeform 34"/>
            <p:cNvSpPr>
              <a:spLocks noChangeArrowheads="1"/>
            </p:cNvSpPr>
            <p:nvPr/>
          </p:nvSpPr>
          <p:spPr bwMode="auto">
            <a:xfrm>
              <a:off x="6697522" y="4849798"/>
              <a:ext cx="272099" cy="163628"/>
            </a:xfrm>
            <a:custGeom>
              <a:avLst/>
              <a:gdLst>
                <a:gd name="T0" fmla="*/ 123 w 785"/>
                <a:gd name="T1" fmla="*/ 213 h 472"/>
                <a:gd name="T2" fmla="*/ 123 w 785"/>
                <a:gd name="T3" fmla="*/ 213 h 472"/>
                <a:gd name="T4" fmla="*/ 190 w 785"/>
                <a:gd name="T5" fmla="*/ 325 h 472"/>
                <a:gd name="T6" fmla="*/ 269 w 785"/>
                <a:gd name="T7" fmla="*/ 404 h 472"/>
                <a:gd name="T8" fmla="*/ 336 w 785"/>
                <a:gd name="T9" fmla="*/ 448 h 472"/>
                <a:gd name="T10" fmla="*/ 403 w 785"/>
                <a:gd name="T11" fmla="*/ 426 h 472"/>
                <a:gd name="T12" fmla="*/ 493 w 785"/>
                <a:gd name="T13" fmla="*/ 359 h 472"/>
                <a:gd name="T14" fmla="*/ 538 w 785"/>
                <a:gd name="T15" fmla="*/ 381 h 472"/>
                <a:gd name="T16" fmla="*/ 594 w 785"/>
                <a:gd name="T17" fmla="*/ 314 h 472"/>
                <a:gd name="T18" fmla="*/ 717 w 785"/>
                <a:gd name="T19" fmla="*/ 303 h 472"/>
                <a:gd name="T20" fmla="*/ 717 w 785"/>
                <a:gd name="T21" fmla="*/ 247 h 472"/>
                <a:gd name="T22" fmla="*/ 639 w 785"/>
                <a:gd name="T23" fmla="*/ 202 h 472"/>
                <a:gd name="T24" fmla="*/ 583 w 785"/>
                <a:gd name="T25" fmla="*/ 157 h 472"/>
                <a:gd name="T26" fmla="*/ 527 w 785"/>
                <a:gd name="T27" fmla="*/ 101 h 472"/>
                <a:gd name="T28" fmla="*/ 493 w 785"/>
                <a:gd name="T29" fmla="*/ 45 h 472"/>
                <a:gd name="T30" fmla="*/ 403 w 785"/>
                <a:gd name="T31" fmla="*/ 22 h 472"/>
                <a:gd name="T32" fmla="*/ 336 w 785"/>
                <a:gd name="T33" fmla="*/ 22 h 472"/>
                <a:gd name="T34" fmla="*/ 314 w 785"/>
                <a:gd name="T35" fmla="*/ 0 h 472"/>
                <a:gd name="T36" fmla="*/ 258 w 785"/>
                <a:gd name="T37" fmla="*/ 34 h 472"/>
                <a:gd name="T38" fmla="*/ 201 w 785"/>
                <a:gd name="T39" fmla="*/ 67 h 472"/>
                <a:gd name="T40" fmla="*/ 134 w 785"/>
                <a:gd name="T41" fmla="*/ 90 h 472"/>
                <a:gd name="T42" fmla="*/ 67 w 785"/>
                <a:gd name="T43" fmla="*/ 90 h 472"/>
                <a:gd name="T44" fmla="*/ 11 w 785"/>
                <a:gd name="T45" fmla="*/ 146 h 472"/>
                <a:gd name="T46" fmla="*/ 45 w 785"/>
                <a:gd name="T47" fmla="*/ 191 h 472"/>
                <a:gd name="T48" fmla="*/ 45 w 785"/>
                <a:gd name="T49" fmla="*/ 191 h 472"/>
                <a:gd name="T50" fmla="*/ 123 w 785"/>
                <a:gd name="T51" fmla="*/ 213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5" h="472">
                  <a:moveTo>
                    <a:pt x="123" y="213"/>
                  </a:moveTo>
                  <a:lnTo>
                    <a:pt x="123" y="213"/>
                  </a:lnTo>
                  <a:cubicBezTo>
                    <a:pt x="157" y="235"/>
                    <a:pt x="168" y="291"/>
                    <a:pt x="190" y="325"/>
                  </a:cubicBezTo>
                  <a:cubicBezTo>
                    <a:pt x="213" y="370"/>
                    <a:pt x="246" y="370"/>
                    <a:pt x="269" y="404"/>
                  </a:cubicBezTo>
                  <a:cubicBezTo>
                    <a:pt x="291" y="426"/>
                    <a:pt x="314" y="426"/>
                    <a:pt x="336" y="448"/>
                  </a:cubicBezTo>
                  <a:cubicBezTo>
                    <a:pt x="347" y="471"/>
                    <a:pt x="370" y="460"/>
                    <a:pt x="403" y="426"/>
                  </a:cubicBezTo>
                  <a:cubicBezTo>
                    <a:pt x="437" y="392"/>
                    <a:pt x="482" y="347"/>
                    <a:pt x="493" y="359"/>
                  </a:cubicBezTo>
                  <a:cubicBezTo>
                    <a:pt x="493" y="381"/>
                    <a:pt x="515" y="392"/>
                    <a:pt x="538" y="381"/>
                  </a:cubicBezTo>
                  <a:cubicBezTo>
                    <a:pt x="560" y="381"/>
                    <a:pt x="594" y="347"/>
                    <a:pt x="594" y="314"/>
                  </a:cubicBezTo>
                  <a:cubicBezTo>
                    <a:pt x="583" y="280"/>
                    <a:pt x="639" y="291"/>
                    <a:pt x="717" y="303"/>
                  </a:cubicBezTo>
                  <a:cubicBezTo>
                    <a:pt x="784" y="303"/>
                    <a:pt x="751" y="258"/>
                    <a:pt x="717" y="247"/>
                  </a:cubicBezTo>
                  <a:cubicBezTo>
                    <a:pt x="683" y="235"/>
                    <a:pt x="639" y="224"/>
                    <a:pt x="639" y="202"/>
                  </a:cubicBezTo>
                  <a:cubicBezTo>
                    <a:pt x="639" y="180"/>
                    <a:pt x="616" y="157"/>
                    <a:pt x="583" y="157"/>
                  </a:cubicBezTo>
                  <a:cubicBezTo>
                    <a:pt x="549" y="168"/>
                    <a:pt x="549" y="101"/>
                    <a:pt x="527" y="101"/>
                  </a:cubicBezTo>
                  <a:cubicBezTo>
                    <a:pt x="493" y="101"/>
                    <a:pt x="515" y="56"/>
                    <a:pt x="493" y="45"/>
                  </a:cubicBezTo>
                  <a:cubicBezTo>
                    <a:pt x="470" y="34"/>
                    <a:pt x="403" y="11"/>
                    <a:pt x="403" y="22"/>
                  </a:cubicBezTo>
                  <a:cubicBezTo>
                    <a:pt x="392" y="45"/>
                    <a:pt x="336" y="45"/>
                    <a:pt x="336" y="22"/>
                  </a:cubicBezTo>
                  <a:cubicBezTo>
                    <a:pt x="325" y="22"/>
                    <a:pt x="325" y="11"/>
                    <a:pt x="314" y="0"/>
                  </a:cubicBezTo>
                  <a:cubicBezTo>
                    <a:pt x="291" y="0"/>
                    <a:pt x="269" y="11"/>
                    <a:pt x="258" y="34"/>
                  </a:cubicBezTo>
                  <a:cubicBezTo>
                    <a:pt x="246" y="56"/>
                    <a:pt x="224" y="78"/>
                    <a:pt x="201" y="67"/>
                  </a:cubicBezTo>
                  <a:cubicBezTo>
                    <a:pt x="179" y="56"/>
                    <a:pt x="157" y="78"/>
                    <a:pt x="134" y="90"/>
                  </a:cubicBezTo>
                  <a:cubicBezTo>
                    <a:pt x="123" y="112"/>
                    <a:pt x="101" y="78"/>
                    <a:pt x="67" y="90"/>
                  </a:cubicBezTo>
                  <a:cubicBezTo>
                    <a:pt x="34" y="101"/>
                    <a:pt x="0" y="123"/>
                    <a:pt x="11" y="146"/>
                  </a:cubicBezTo>
                  <a:cubicBezTo>
                    <a:pt x="22" y="157"/>
                    <a:pt x="45" y="191"/>
                    <a:pt x="45" y="191"/>
                  </a:cubicBezTo>
                  <a:lnTo>
                    <a:pt x="45" y="191"/>
                  </a:lnTo>
                  <a:cubicBezTo>
                    <a:pt x="56" y="180"/>
                    <a:pt x="90" y="191"/>
                    <a:pt x="123" y="21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" name="Freeform 36"/>
            <p:cNvSpPr>
              <a:spLocks noChangeArrowheads="1"/>
            </p:cNvSpPr>
            <p:nvPr/>
          </p:nvSpPr>
          <p:spPr bwMode="auto">
            <a:xfrm>
              <a:off x="4821874" y="3404663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" name="Freeform 37"/>
            <p:cNvSpPr>
              <a:spLocks noChangeArrowheads="1"/>
            </p:cNvSpPr>
            <p:nvPr/>
          </p:nvSpPr>
          <p:spPr bwMode="auto">
            <a:xfrm>
              <a:off x="6414723" y="2922952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" name="Freeform 38"/>
            <p:cNvSpPr>
              <a:spLocks noChangeArrowheads="1"/>
            </p:cNvSpPr>
            <p:nvPr/>
          </p:nvSpPr>
          <p:spPr bwMode="auto">
            <a:xfrm>
              <a:off x="6475869" y="3788504"/>
              <a:ext cx="1528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" name="Freeform 39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" name="Freeform 40"/>
            <p:cNvSpPr>
              <a:spLocks noChangeArrowheads="1"/>
            </p:cNvSpPr>
            <p:nvPr/>
          </p:nvSpPr>
          <p:spPr bwMode="auto">
            <a:xfrm>
              <a:off x="6475869" y="3800738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" name="Freeform 41"/>
            <p:cNvSpPr>
              <a:spLocks noChangeArrowheads="1"/>
            </p:cNvSpPr>
            <p:nvPr/>
          </p:nvSpPr>
          <p:spPr bwMode="auto">
            <a:xfrm>
              <a:off x="6475869" y="3796149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" name="Freeform 42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" name="Freeform 43"/>
            <p:cNvSpPr>
              <a:spLocks noChangeArrowheads="1"/>
            </p:cNvSpPr>
            <p:nvPr/>
          </p:nvSpPr>
          <p:spPr bwMode="auto">
            <a:xfrm>
              <a:off x="6475869" y="3793091"/>
              <a:ext cx="1528" cy="4588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" name="Freeform 44"/>
            <p:cNvSpPr>
              <a:spLocks noChangeArrowheads="1"/>
            </p:cNvSpPr>
            <p:nvPr/>
          </p:nvSpPr>
          <p:spPr bwMode="auto">
            <a:xfrm>
              <a:off x="6203770" y="3664635"/>
              <a:ext cx="1528" cy="4588"/>
            </a:xfrm>
            <a:custGeom>
              <a:avLst/>
              <a:gdLst>
                <a:gd name="T0" fmla="*/ 0 w 1"/>
                <a:gd name="T1" fmla="*/ 11 h 12"/>
                <a:gd name="T2" fmla="*/ 0 w 1"/>
                <a:gd name="T3" fmla="*/ 11 h 12"/>
                <a:gd name="T4" fmla="*/ 0 w 1"/>
                <a:gd name="T5" fmla="*/ 0 h 12"/>
                <a:gd name="T6" fmla="*/ 0 w 1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11"/>
                  </a:moveTo>
                  <a:lnTo>
                    <a:pt x="0" y="11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" name="Freeform 45"/>
            <p:cNvSpPr>
              <a:spLocks noChangeArrowheads="1"/>
            </p:cNvSpPr>
            <p:nvPr/>
          </p:nvSpPr>
          <p:spPr bwMode="auto">
            <a:xfrm>
              <a:off x="6203770" y="3660047"/>
              <a:ext cx="1528" cy="4587"/>
            </a:xfrm>
            <a:custGeom>
              <a:avLst/>
              <a:gdLst>
                <a:gd name="T0" fmla="*/ 0 w 1"/>
                <a:gd name="T1" fmla="*/ 11 h 12"/>
                <a:gd name="T2" fmla="*/ 0 w 1"/>
                <a:gd name="T3" fmla="*/ 11 h 12"/>
                <a:gd name="T4" fmla="*/ 0 w 1"/>
                <a:gd name="T5" fmla="*/ 0 h 12"/>
                <a:gd name="T6" fmla="*/ 0 w 1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11"/>
                  </a:moveTo>
                  <a:lnTo>
                    <a:pt x="0" y="11"/>
                  </a:lnTo>
                  <a:cubicBezTo>
                    <a:pt x="0" y="11"/>
                    <a:pt x="0" y="11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" name="Freeform 46"/>
            <p:cNvSpPr>
              <a:spLocks noChangeArrowheads="1"/>
            </p:cNvSpPr>
            <p:nvPr/>
          </p:nvSpPr>
          <p:spPr bwMode="auto">
            <a:xfrm>
              <a:off x="6203770" y="3667693"/>
              <a:ext cx="1528" cy="15292"/>
            </a:xfrm>
            <a:custGeom>
              <a:avLst/>
              <a:gdLst>
                <a:gd name="T0" fmla="*/ 0 w 1"/>
                <a:gd name="T1" fmla="*/ 45 h 46"/>
                <a:gd name="T2" fmla="*/ 0 w 1"/>
                <a:gd name="T3" fmla="*/ 45 h 46"/>
                <a:gd name="T4" fmla="*/ 0 w 1"/>
                <a:gd name="T5" fmla="*/ 45 h 46"/>
                <a:gd name="T6" fmla="*/ 0 w 1"/>
                <a:gd name="T7" fmla="*/ 0 h 46"/>
                <a:gd name="T8" fmla="*/ 0 w 1"/>
                <a:gd name="T9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6">
                  <a:moveTo>
                    <a:pt x="0" y="45"/>
                  </a:moveTo>
                  <a:lnTo>
                    <a:pt x="0" y="45"/>
                  </a:lnTo>
                  <a:lnTo>
                    <a:pt x="0" y="45"/>
                  </a:lnTo>
                  <a:cubicBezTo>
                    <a:pt x="0" y="23"/>
                    <a:pt x="0" y="12"/>
                    <a:pt x="0" y="0"/>
                  </a:cubicBezTo>
                  <a:cubicBezTo>
                    <a:pt x="0" y="12"/>
                    <a:pt x="0" y="23"/>
                    <a:pt x="0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" name="Freeform 47"/>
            <p:cNvSpPr>
              <a:spLocks noChangeArrowheads="1"/>
            </p:cNvSpPr>
            <p:nvPr/>
          </p:nvSpPr>
          <p:spPr bwMode="auto">
            <a:xfrm>
              <a:off x="6203770" y="3667693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" name="Freeform 48"/>
            <p:cNvSpPr>
              <a:spLocks noChangeArrowheads="1"/>
            </p:cNvSpPr>
            <p:nvPr/>
          </p:nvSpPr>
          <p:spPr bwMode="auto">
            <a:xfrm>
              <a:off x="6203770" y="3660047"/>
              <a:ext cx="4585" cy="1529"/>
            </a:xfrm>
            <a:custGeom>
              <a:avLst/>
              <a:gdLst>
                <a:gd name="T0" fmla="*/ 0 w 13"/>
                <a:gd name="T1" fmla="*/ 0 h 1"/>
                <a:gd name="T2" fmla="*/ 0 w 13"/>
                <a:gd name="T3" fmla="*/ 0 h 1"/>
                <a:gd name="T4" fmla="*/ 12 w 13"/>
                <a:gd name="T5" fmla="*/ 0 h 1"/>
                <a:gd name="T6" fmla="*/ 0 w 1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" name="Freeform 49"/>
            <p:cNvSpPr>
              <a:spLocks noChangeArrowheads="1"/>
            </p:cNvSpPr>
            <p:nvPr/>
          </p:nvSpPr>
          <p:spPr bwMode="auto">
            <a:xfrm>
              <a:off x="6208355" y="3656989"/>
              <a:ext cx="1529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" name="Freeform 50"/>
            <p:cNvSpPr>
              <a:spLocks noChangeArrowheads="1"/>
            </p:cNvSpPr>
            <p:nvPr/>
          </p:nvSpPr>
          <p:spPr bwMode="auto">
            <a:xfrm>
              <a:off x="6203770" y="3664635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" name="Freeform 51"/>
            <p:cNvSpPr>
              <a:spLocks noChangeArrowheads="1"/>
            </p:cNvSpPr>
            <p:nvPr/>
          </p:nvSpPr>
          <p:spPr bwMode="auto">
            <a:xfrm>
              <a:off x="6709751" y="4207516"/>
              <a:ext cx="4586" cy="1529"/>
            </a:xfrm>
            <a:custGeom>
              <a:avLst/>
              <a:gdLst>
                <a:gd name="T0" fmla="*/ 0 w 12"/>
                <a:gd name="T1" fmla="*/ 0 h 1"/>
                <a:gd name="T2" fmla="*/ 0 w 12"/>
                <a:gd name="T3" fmla="*/ 0 h 1"/>
                <a:gd name="T4" fmla="*/ 11 w 12"/>
                <a:gd name="T5" fmla="*/ 0 h 1"/>
                <a:gd name="T6" fmla="*/ 0 w 1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">
                  <a:moveTo>
                    <a:pt x="0" y="0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" name="Freeform 52"/>
            <p:cNvSpPr>
              <a:spLocks noChangeArrowheads="1"/>
            </p:cNvSpPr>
            <p:nvPr/>
          </p:nvSpPr>
          <p:spPr bwMode="auto">
            <a:xfrm>
              <a:off x="6717395" y="420751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" name="Freeform 53"/>
            <p:cNvSpPr>
              <a:spLocks noChangeArrowheads="1"/>
            </p:cNvSpPr>
            <p:nvPr/>
          </p:nvSpPr>
          <p:spPr bwMode="auto">
            <a:xfrm>
              <a:off x="6712808" y="4207516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54"/>
            <p:cNvSpPr>
              <a:spLocks noChangeArrowheads="1"/>
            </p:cNvSpPr>
            <p:nvPr/>
          </p:nvSpPr>
          <p:spPr bwMode="auto">
            <a:xfrm>
              <a:off x="6717395" y="420751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" name="Freeform 55"/>
            <p:cNvSpPr>
              <a:spLocks noChangeArrowheads="1"/>
            </p:cNvSpPr>
            <p:nvPr/>
          </p:nvSpPr>
          <p:spPr bwMode="auto">
            <a:xfrm>
              <a:off x="6712808" y="4207516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" name="Freeform 56"/>
            <p:cNvSpPr>
              <a:spLocks noChangeArrowheads="1"/>
            </p:cNvSpPr>
            <p:nvPr/>
          </p:nvSpPr>
          <p:spPr bwMode="auto">
            <a:xfrm>
              <a:off x="6717395" y="420751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" name="Freeform 57"/>
            <p:cNvSpPr>
              <a:spLocks noChangeArrowheads="1"/>
            </p:cNvSpPr>
            <p:nvPr/>
          </p:nvSpPr>
          <p:spPr bwMode="auto">
            <a:xfrm>
              <a:off x="6475869" y="3796149"/>
              <a:ext cx="1528" cy="4588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" name="Freeform 58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" name="Freeform 59"/>
            <p:cNvSpPr>
              <a:spLocks noChangeArrowheads="1"/>
            </p:cNvSpPr>
            <p:nvPr/>
          </p:nvSpPr>
          <p:spPr bwMode="auto">
            <a:xfrm>
              <a:off x="6475869" y="3800738"/>
              <a:ext cx="1528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" name="Freeform 60"/>
            <p:cNvSpPr>
              <a:spLocks noChangeArrowheads="1"/>
            </p:cNvSpPr>
            <p:nvPr/>
          </p:nvSpPr>
          <p:spPr bwMode="auto">
            <a:xfrm>
              <a:off x="6475869" y="3796149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" name="Freeform 61"/>
            <p:cNvSpPr>
              <a:spLocks noChangeArrowheads="1"/>
            </p:cNvSpPr>
            <p:nvPr/>
          </p:nvSpPr>
          <p:spPr bwMode="auto">
            <a:xfrm>
              <a:off x="6475869" y="3793091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" name="Freeform 62"/>
            <p:cNvSpPr>
              <a:spLocks noChangeArrowheads="1"/>
            </p:cNvSpPr>
            <p:nvPr/>
          </p:nvSpPr>
          <p:spPr bwMode="auto">
            <a:xfrm>
              <a:off x="6709751" y="4207516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" name="Freeform 63"/>
            <p:cNvSpPr>
              <a:spLocks noChangeArrowheads="1"/>
            </p:cNvSpPr>
            <p:nvPr/>
          </p:nvSpPr>
          <p:spPr bwMode="auto">
            <a:xfrm>
              <a:off x="6475869" y="3783915"/>
              <a:ext cx="1528" cy="4588"/>
            </a:xfrm>
            <a:custGeom>
              <a:avLst/>
              <a:gdLst>
                <a:gd name="T0" fmla="*/ 0 w 1"/>
                <a:gd name="T1" fmla="*/ 0 h 13"/>
                <a:gd name="T2" fmla="*/ 0 w 1"/>
                <a:gd name="T3" fmla="*/ 0 h 13"/>
                <a:gd name="T4" fmla="*/ 0 w 1"/>
                <a:gd name="T5" fmla="*/ 0 h 13"/>
                <a:gd name="T6" fmla="*/ 0 w 1"/>
                <a:gd name="T7" fmla="*/ 12 h 13"/>
                <a:gd name="T8" fmla="*/ 0 w 1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" name="Freeform 64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" name="Freeform 65"/>
            <p:cNvSpPr>
              <a:spLocks noChangeArrowheads="1"/>
            </p:cNvSpPr>
            <p:nvPr/>
          </p:nvSpPr>
          <p:spPr bwMode="auto">
            <a:xfrm>
              <a:off x="9358895" y="4464429"/>
              <a:ext cx="70318" cy="90225"/>
            </a:xfrm>
            <a:custGeom>
              <a:avLst/>
              <a:gdLst>
                <a:gd name="T0" fmla="*/ 191 w 203"/>
                <a:gd name="T1" fmla="*/ 0 h 259"/>
                <a:gd name="T2" fmla="*/ 191 w 203"/>
                <a:gd name="T3" fmla="*/ 0 h 259"/>
                <a:gd name="T4" fmla="*/ 124 w 203"/>
                <a:gd name="T5" fmla="*/ 33 h 259"/>
                <a:gd name="T6" fmla="*/ 23 w 203"/>
                <a:gd name="T7" fmla="*/ 56 h 259"/>
                <a:gd name="T8" fmla="*/ 0 w 203"/>
                <a:gd name="T9" fmla="*/ 134 h 259"/>
                <a:gd name="T10" fmla="*/ 45 w 203"/>
                <a:gd name="T11" fmla="*/ 224 h 259"/>
                <a:gd name="T12" fmla="*/ 90 w 203"/>
                <a:gd name="T13" fmla="*/ 235 h 259"/>
                <a:gd name="T14" fmla="*/ 135 w 203"/>
                <a:gd name="T15" fmla="*/ 145 h 259"/>
                <a:gd name="T16" fmla="*/ 180 w 203"/>
                <a:gd name="T17" fmla="*/ 67 h 259"/>
                <a:gd name="T18" fmla="*/ 191 w 203"/>
                <a:gd name="T19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3" h="259">
                  <a:moveTo>
                    <a:pt x="191" y="0"/>
                  </a:moveTo>
                  <a:lnTo>
                    <a:pt x="191" y="0"/>
                  </a:lnTo>
                  <a:cubicBezTo>
                    <a:pt x="191" y="0"/>
                    <a:pt x="169" y="33"/>
                    <a:pt x="124" y="33"/>
                  </a:cubicBezTo>
                  <a:cubicBezTo>
                    <a:pt x="79" y="44"/>
                    <a:pt x="34" y="33"/>
                    <a:pt x="23" y="56"/>
                  </a:cubicBezTo>
                  <a:cubicBezTo>
                    <a:pt x="12" y="78"/>
                    <a:pt x="0" y="100"/>
                    <a:pt x="0" y="134"/>
                  </a:cubicBezTo>
                  <a:cubicBezTo>
                    <a:pt x="12" y="179"/>
                    <a:pt x="34" y="190"/>
                    <a:pt x="45" y="224"/>
                  </a:cubicBezTo>
                  <a:cubicBezTo>
                    <a:pt x="56" y="246"/>
                    <a:pt x="90" y="258"/>
                    <a:pt x="90" y="235"/>
                  </a:cubicBezTo>
                  <a:cubicBezTo>
                    <a:pt x="101" y="213"/>
                    <a:pt x="101" y="156"/>
                    <a:pt x="135" y="145"/>
                  </a:cubicBezTo>
                  <a:cubicBezTo>
                    <a:pt x="169" y="123"/>
                    <a:pt x="180" y="89"/>
                    <a:pt x="180" y="67"/>
                  </a:cubicBezTo>
                  <a:cubicBezTo>
                    <a:pt x="180" y="44"/>
                    <a:pt x="202" y="22"/>
                    <a:pt x="191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" name="Freeform 66"/>
            <p:cNvSpPr>
              <a:spLocks noChangeArrowheads="1"/>
            </p:cNvSpPr>
            <p:nvPr/>
          </p:nvSpPr>
          <p:spPr bwMode="auto">
            <a:xfrm>
              <a:off x="9351251" y="4449137"/>
              <a:ext cx="82547" cy="108576"/>
            </a:xfrm>
            <a:custGeom>
              <a:avLst/>
              <a:gdLst>
                <a:gd name="T0" fmla="*/ 101 w 237"/>
                <a:gd name="T1" fmla="*/ 314 h 315"/>
                <a:gd name="T2" fmla="*/ 101 w 237"/>
                <a:gd name="T3" fmla="*/ 314 h 315"/>
                <a:gd name="T4" fmla="*/ 101 w 237"/>
                <a:gd name="T5" fmla="*/ 314 h 315"/>
                <a:gd name="T6" fmla="*/ 45 w 237"/>
                <a:gd name="T7" fmla="*/ 280 h 315"/>
                <a:gd name="T8" fmla="*/ 34 w 237"/>
                <a:gd name="T9" fmla="*/ 246 h 315"/>
                <a:gd name="T10" fmla="*/ 0 w 237"/>
                <a:gd name="T11" fmla="*/ 190 h 315"/>
                <a:gd name="T12" fmla="*/ 22 w 237"/>
                <a:gd name="T13" fmla="*/ 101 h 315"/>
                <a:gd name="T14" fmla="*/ 22 w 237"/>
                <a:gd name="T15" fmla="*/ 89 h 315"/>
                <a:gd name="T16" fmla="*/ 78 w 237"/>
                <a:gd name="T17" fmla="*/ 67 h 315"/>
                <a:gd name="T18" fmla="*/ 101 w 237"/>
                <a:gd name="T19" fmla="*/ 67 h 315"/>
                <a:gd name="T20" fmla="*/ 112 w 237"/>
                <a:gd name="T21" fmla="*/ 67 h 315"/>
                <a:gd name="T22" fmla="*/ 146 w 237"/>
                <a:gd name="T23" fmla="*/ 67 h 315"/>
                <a:gd name="T24" fmla="*/ 191 w 237"/>
                <a:gd name="T25" fmla="*/ 33 h 315"/>
                <a:gd name="T26" fmla="*/ 213 w 237"/>
                <a:gd name="T27" fmla="*/ 0 h 315"/>
                <a:gd name="T28" fmla="*/ 224 w 237"/>
                <a:gd name="T29" fmla="*/ 33 h 315"/>
                <a:gd name="T30" fmla="*/ 224 w 237"/>
                <a:gd name="T31" fmla="*/ 89 h 315"/>
                <a:gd name="T32" fmla="*/ 224 w 237"/>
                <a:gd name="T33" fmla="*/ 112 h 315"/>
                <a:gd name="T34" fmla="*/ 168 w 237"/>
                <a:gd name="T35" fmla="*/ 201 h 315"/>
                <a:gd name="T36" fmla="*/ 146 w 237"/>
                <a:gd name="T37" fmla="*/ 258 h 315"/>
                <a:gd name="T38" fmla="*/ 135 w 237"/>
                <a:gd name="T39" fmla="*/ 291 h 315"/>
                <a:gd name="T40" fmla="*/ 101 w 237"/>
                <a:gd name="T41" fmla="*/ 314 h 315"/>
                <a:gd name="T42" fmla="*/ 67 w 237"/>
                <a:gd name="T43" fmla="*/ 112 h 315"/>
                <a:gd name="T44" fmla="*/ 67 w 237"/>
                <a:gd name="T45" fmla="*/ 112 h 315"/>
                <a:gd name="T46" fmla="*/ 56 w 237"/>
                <a:gd name="T47" fmla="*/ 123 h 315"/>
                <a:gd name="T48" fmla="*/ 45 w 237"/>
                <a:gd name="T49" fmla="*/ 179 h 315"/>
                <a:gd name="T50" fmla="*/ 67 w 237"/>
                <a:gd name="T51" fmla="*/ 224 h 315"/>
                <a:gd name="T52" fmla="*/ 90 w 237"/>
                <a:gd name="T53" fmla="*/ 258 h 315"/>
                <a:gd name="T54" fmla="*/ 101 w 237"/>
                <a:gd name="T55" fmla="*/ 269 h 315"/>
                <a:gd name="T56" fmla="*/ 101 w 237"/>
                <a:gd name="T57" fmla="*/ 246 h 315"/>
                <a:gd name="T58" fmla="*/ 146 w 237"/>
                <a:gd name="T59" fmla="*/ 168 h 315"/>
                <a:gd name="T60" fmla="*/ 180 w 237"/>
                <a:gd name="T61" fmla="*/ 123 h 315"/>
                <a:gd name="T62" fmla="*/ 180 w 237"/>
                <a:gd name="T63" fmla="*/ 89 h 315"/>
                <a:gd name="T64" fmla="*/ 146 w 237"/>
                <a:gd name="T65" fmla="*/ 101 h 315"/>
                <a:gd name="T66" fmla="*/ 112 w 237"/>
                <a:gd name="T67" fmla="*/ 112 h 315"/>
                <a:gd name="T68" fmla="*/ 90 w 237"/>
                <a:gd name="T69" fmla="*/ 112 h 315"/>
                <a:gd name="T70" fmla="*/ 78 w 237"/>
                <a:gd name="T71" fmla="*/ 112 h 315"/>
                <a:gd name="T72" fmla="*/ 67 w 237"/>
                <a:gd name="T73" fmla="*/ 11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7" h="315">
                  <a:moveTo>
                    <a:pt x="101" y="314"/>
                  </a:moveTo>
                  <a:lnTo>
                    <a:pt x="101" y="314"/>
                  </a:lnTo>
                  <a:lnTo>
                    <a:pt x="101" y="314"/>
                  </a:lnTo>
                  <a:cubicBezTo>
                    <a:pt x="78" y="314"/>
                    <a:pt x="56" y="303"/>
                    <a:pt x="45" y="280"/>
                  </a:cubicBezTo>
                  <a:cubicBezTo>
                    <a:pt x="45" y="269"/>
                    <a:pt x="45" y="258"/>
                    <a:pt x="34" y="246"/>
                  </a:cubicBezTo>
                  <a:cubicBezTo>
                    <a:pt x="22" y="235"/>
                    <a:pt x="11" y="224"/>
                    <a:pt x="0" y="190"/>
                  </a:cubicBezTo>
                  <a:cubicBezTo>
                    <a:pt x="0" y="145"/>
                    <a:pt x="11" y="123"/>
                    <a:pt x="22" y="101"/>
                  </a:cubicBezTo>
                  <a:lnTo>
                    <a:pt x="22" y="89"/>
                  </a:lnTo>
                  <a:cubicBezTo>
                    <a:pt x="34" y="67"/>
                    <a:pt x="67" y="67"/>
                    <a:pt x="78" y="67"/>
                  </a:cubicBezTo>
                  <a:cubicBezTo>
                    <a:pt x="90" y="67"/>
                    <a:pt x="90" y="67"/>
                    <a:pt x="101" y="67"/>
                  </a:cubicBezTo>
                  <a:lnTo>
                    <a:pt x="112" y="67"/>
                  </a:lnTo>
                  <a:cubicBezTo>
                    <a:pt x="123" y="67"/>
                    <a:pt x="135" y="67"/>
                    <a:pt x="146" y="67"/>
                  </a:cubicBezTo>
                  <a:cubicBezTo>
                    <a:pt x="180" y="56"/>
                    <a:pt x="191" y="33"/>
                    <a:pt x="191" y="33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6"/>
                    <a:pt x="236" y="78"/>
                    <a:pt x="224" y="89"/>
                  </a:cubicBezTo>
                  <a:cubicBezTo>
                    <a:pt x="224" y="101"/>
                    <a:pt x="224" y="112"/>
                    <a:pt x="224" y="112"/>
                  </a:cubicBezTo>
                  <a:cubicBezTo>
                    <a:pt x="224" y="145"/>
                    <a:pt x="202" y="179"/>
                    <a:pt x="168" y="201"/>
                  </a:cubicBezTo>
                  <a:cubicBezTo>
                    <a:pt x="157" y="213"/>
                    <a:pt x="146" y="235"/>
                    <a:pt x="146" y="258"/>
                  </a:cubicBezTo>
                  <a:cubicBezTo>
                    <a:pt x="146" y="269"/>
                    <a:pt x="146" y="280"/>
                    <a:pt x="135" y="291"/>
                  </a:cubicBezTo>
                  <a:cubicBezTo>
                    <a:pt x="135" y="303"/>
                    <a:pt x="112" y="314"/>
                    <a:pt x="101" y="314"/>
                  </a:cubicBezTo>
                  <a:close/>
                  <a:moveTo>
                    <a:pt x="67" y="112"/>
                  </a:moveTo>
                  <a:lnTo>
                    <a:pt x="67" y="112"/>
                  </a:lnTo>
                  <a:cubicBezTo>
                    <a:pt x="56" y="112"/>
                    <a:pt x="56" y="112"/>
                    <a:pt x="56" y="123"/>
                  </a:cubicBezTo>
                  <a:cubicBezTo>
                    <a:pt x="45" y="134"/>
                    <a:pt x="45" y="157"/>
                    <a:pt x="45" y="179"/>
                  </a:cubicBezTo>
                  <a:cubicBezTo>
                    <a:pt x="45" y="201"/>
                    <a:pt x="56" y="213"/>
                    <a:pt x="67" y="224"/>
                  </a:cubicBezTo>
                  <a:cubicBezTo>
                    <a:pt x="78" y="235"/>
                    <a:pt x="78" y="246"/>
                    <a:pt x="90" y="258"/>
                  </a:cubicBezTo>
                  <a:lnTo>
                    <a:pt x="101" y="269"/>
                  </a:lnTo>
                  <a:cubicBezTo>
                    <a:pt x="101" y="269"/>
                    <a:pt x="101" y="258"/>
                    <a:pt x="101" y="246"/>
                  </a:cubicBezTo>
                  <a:cubicBezTo>
                    <a:pt x="112" y="224"/>
                    <a:pt x="112" y="179"/>
                    <a:pt x="146" y="168"/>
                  </a:cubicBezTo>
                  <a:cubicBezTo>
                    <a:pt x="168" y="157"/>
                    <a:pt x="180" y="134"/>
                    <a:pt x="180" y="123"/>
                  </a:cubicBezTo>
                  <a:cubicBezTo>
                    <a:pt x="180" y="112"/>
                    <a:pt x="180" y="101"/>
                    <a:pt x="180" y="89"/>
                  </a:cubicBezTo>
                  <a:cubicBezTo>
                    <a:pt x="168" y="101"/>
                    <a:pt x="157" y="101"/>
                    <a:pt x="146" y="101"/>
                  </a:cubicBezTo>
                  <a:cubicBezTo>
                    <a:pt x="135" y="112"/>
                    <a:pt x="123" y="112"/>
                    <a:pt x="112" y="112"/>
                  </a:cubicBezTo>
                  <a:cubicBezTo>
                    <a:pt x="112" y="112"/>
                    <a:pt x="101" y="112"/>
                    <a:pt x="90" y="112"/>
                  </a:cubicBezTo>
                  <a:lnTo>
                    <a:pt x="78" y="112"/>
                  </a:lnTo>
                  <a:cubicBezTo>
                    <a:pt x="67" y="112"/>
                    <a:pt x="67" y="112"/>
                    <a:pt x="67" y="112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" name="Freeform 67"/>
            <p:cNvSpPr>
              <a:spLocks noChangeArrowheads="1"/>
            </p:cNvSpPr>
            <p:nvPr/>
          </p:nvSpPr>
          <p:spPr bwMode="auto">
            <a:xfrm>
              <a:off x="9378767" y="4227396"/>
              <a:ext cx="32102" cy="39760"/>
            </a:xfrm>
            <a:custGeom>
              <a:avLst/>
              <a:gdLst>
                <a:gd name="T0" fmla="*/ 57 w 91"/>
                <a:gd name="T1" fmla="*/ 67 h 113"/>
                <a:gd name="T2" fmla="*/ 57 w 91"/>
                <a:gd name="T3" fmla="*/ 67 h 113"/>
                <a:gd name="T4" fmla="*/ 45 w 91"/>
                <a:gd name="T5" fmla="*/ 22 h 113"/>
                <a:gd name="T6" fmla="*/ 12 w 91"/>
                <a:gd name="T7" fmla="*/ 67 h 113"/>
                <a:gd name="T8" fmla="*/ 57 w 91"/>
                <a:gd name="T9" fmla="*/ 6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13">
                  <a:moveTo>
                    <a:pt x="57" y="67"/>
                  </a:moveTo>
                  <a:lnTo>
                    <a:pt x="57" y="67"/>
                  </a:lnTo>
                  <a:cubicBezTo>
                    <a:pt x="45" y="56"/>
                    <a:pt x="45" y="56"/>
                    <a:pt x="45" y="22"/>
                  </a:cubicBezTo>
                  <a:cubicBezTo>
                    <a:pt x="34" y="0"/>
                    <a:pt x="0" y="22"/>
                    <a:pt x="12" y="67"/>
                  </a:cubicBezTo>
                  <a:cubicBezTo>
                    <a:pt x="23" y="112"/>
                    <a:pt x="90" y="101"/>
                    <a:pt x="57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" name="Freeform 68"/>
            <p:cNvSpPr>
              <a:spLocks noChangeArrowheads="1"/>
            </p:cNvSpPr>
            <p:nvPr/>
          </p:nvSpPr>
          <p:spPr bwMode="auto">
            <a:xfrm>
              <a:off x="9374181" y="4224337"/>
              <a:ext cx="35158" cy="47407"/>
            </a:xfrm>
            <a:custGeom>
              <a:avLst/>
              <a:gdLst>
                <a:gd name="T0" fmla="*/ 56 w 102"/>
                <a:gd name="T1" fmla="*/ 134 h 135"/>
                <a:gd name="T2" fmla="*/ 56 w 102"/>
                <a:gd name="T3" fmla="*/ 134 h 135"/>
                <a:gd name="T4" fmla="*/ 56 w 102"/>
                <a:gd name="T5" fmla="*/ 134 h 135"/>
                <a:gd name="T6" fmla="*/ 0 w 102"/>
                <a:gd name="T7" fmla="*/ 78 h 135"/>
                <a:gd name="T8" fmla="*/ 11 w 102"/>
                <a:gd name="T9" fmla="*/ 22 h 135"/>
                <a:gd name="T10" fmla="*/ 45 w 102"/>
                <a:gd name="T11" fmla="*/ 0 h 135"/>
                <a:gd name="T12" fmla="*/ 68 w 102"/>
                <a:gd name="T13" fmla="*/ 33 h 135"/>
                <a:gd name="T14" fmla="*/ 79 w 102"/>
                <a:gd name="T15" fmla="*/ 45 h 135"/>
                <a:gd name="T16" fmla="*/ 90 w 102"/>
                <a:gd name="T17" fmla="*/ 67 h 135"/>
                <a:gd name="T18" fmla="*/ 101 w 102"/>
                <a:gd name="T19" fmla="*/ 112 h 135"/>
                <a:gd name="T20" fmla="*/ 56 w 102"/>
                <a:gd name="T21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" h="135">
                  <a:moveTo>
                    <a:pt x="56" y="134"/>
                  </a:moveTo>
                  <a:lnTo>
                    <a:pt x="56" y="134"/>
                  </a:lnTo>
                  <a:lnTo>
                    <a:pt x="56" y="134"/>
                  </a:lnTo>
                  <a:cubicBezTo>
                    <a:pt x="34" y="134"/>
                    <a:pt x="11" y="112"/>
                    <a:pt x="0" y="78"/>
                  </a:cubicBezTo>
                  <a:cubicBezTo>
                    <a:pt x="0" y="56"/>
                    <a:pt x="0" y="33"/>
                    <a:pt x="11" y="22"/>
                  </a:cubicBezTo>
                  <a:cubicBezTo>
                    <a:pt x="23" y="11"/>
                    <a:pt x="34" y="0"/>
                    <a:pt x="45" y="0"/>
                  </a:cubicBezTo>
                  <a:cubicBezTo>
                    <a:pt x="56" y="0"/>
                    <a:pt x="68" y="11"/>
                    <a:pt x="68" y="33"/>
                  </a:cubicBezTo>
                  <a:cubicBezTo>
                    <a:pt x="79" y="33"/>
                    <a:pt x="79" y="33"/>
                    <a:pt x="79" y="45"/>
                  </a:cubicBezTo>
                  <a:cubicBezTo>
                    <a:pt x="79" y="56"/>
                    <a:pt x="79" y="56"/>
                    <a:pt x="90" y="67"/>
                  </a:cubicBezTo>
                  <a:cubicBezTo>
                    <a:pt x="101" y="89"/>
                    <a:pt x="101" y="101"/>
                    <a:pt x="101" y="112"/>
                  </a:cubicBezTo>
                  <a:cubicBezTo>
                    <a:pt x="90" y="123"/>
                    <a:pt x="79" y="134"/>
                    <a:pt x="56" y="13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" name="Freeform 69"/>
            <p:cNvSpPr>
              <a:spLocks noChangeArrowheads="1"/>
            </p:cNvSpPr>
            <p:nvPr/>
          </p:nvSpPr>
          <p:spPr bwMode="auto">
            <a:xfrm>
              <a:off x="9202973" y="4224337"/>
              <a:ext cx="117705" cy="30585"/>
            </a:xfrm>
            <a:custGeom>
              <a:avLst/>
              <a:gdLst>
                <a:gd name="T0" fmla="*/ 314 w 338"/>
                <a:gd name="T1" fmla="*/ 11 h 90"/>
                <a:gd name="T2" fmla="*/ 314 w 338"/>
                <a:gd name="T3" fmla="*/ 11 h 90"/>
                <a:gd name="T4" fmla="*/ 146 w 338"/>
                <a:gd name="T5" fmla="*/ 45 h 90"/>
                <a:gd name="T6" fmla="*/ 0 w 338"/>
                <a:gd name="T7" fmla="*/ 67 h 90"/>
                <a:gd name="T8" fmla="*/ 157 w 338"/>
                <a:gd name="T9" fmla="*/ 78 h 90"/>
                <a:gd name="T10" fmla="*/ 314 w 338"/>
                <a:gd name="T11" fmla="*/ 33 h 90"/>
                <a:gd name="T12" fmla="*/ 314 w 338"/>
                <a:gd name="T13" fmla="*/ 1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8" h="90">
                  <a:moveTo>
                    <a:pt x="314" y="11"/>
                  </a:moveTo>
                  <a:lnTo>
                    <a:pt x="314" y="11"/>
                  </a:lnTo>
                  <a:cubicBezTo>
                    <a:pt x="292" y="11"/>
                    <a:pt x="191" y="45"/>
                    <a:pt x="146" y="45"/>
                  </a:cubicBezTo>
                  <a:cubicBezTo>
                    <a:pt x="101" y="56"/>
                    <a:pt x="11" y="45"/>
                    <a:pt x="0" y="67"/>
                  </a:cubicBezTo>
                  <a:cubicBezTo>
                    <a:pt x="0" y="89"/>
                    <a:pt x="101" y="78"/>
                    <a:pt x="157" y="78"/>
                  </a:cubicBezTo>
                  <a:cubicBezTo>
                    <a:pt x="213" y="89"/>
                    <a:pt x="280" y="56"/>
                    <a:pt x="314" y="33"/>
                  </a:cubicBezTo>
                  <a:cubicBezTo>
                    <a:pt x="337" y="22"/>
                    <a:pt x="325" y="0"/>
                    <a:pt x="314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" name="Freeform 70"/>
            <p:cNvSpPr>
              <a:spLocks noChangeArrowheads="1"/>
            </p:cNvSpPr>
            <p:nvPr/>
          </p:nvSpPr>
          <p:spPr bwMode="auto">
            <a:xfrm>
              <a:off x="9195329" y="4215162"/>
              <a:ext cx="128406" cy="42819"/>
            </a:xfrm>
            <a:custGeom>
              <a:avLst/>
              <a:gdLst>
                <a:gd name="T0" fmla="*/ 190 w 371"/>
                <a:gd name="T1" fmla="*/ 124 h 125"/>
                <a:gd name="T2" fmla="*/ 190 w 371"/>
                <a:gd name="T3" fmla="*/ 124 h 125"/>
                <a:gd name="T4" fmla="*/ 190 w 371"/>
                <a:gd name="T5" fmla="*/ 124 h 125"/>
                <a:gd name="T6" fmla="*/ 179 w 371"/>
                <a:gd name="T7" fmla="*/ 124 h 125"/>
                <a:gd name="T8" fmla="*/ 146 w 371"/>
                <a:gd name="T9" fmla="*/ 124 h 125"/>
                <a:gd name="T10" fmla="*/ 101 w 371"/>
                <a:gd name="T11" fmla="*/ 124 h 125"/>
                <a:gd name="T12" fmla="*/ 67 w 371"/>
                <a:gd name="T13" fmla="*/ 124 h 125"/>
                <a:gd name="T14" fmla="*/ 11 w 371"/>
                <a:gd name="T15" fmla="*/ 112 h 125"/>
                <a:gd name="T16" fmla="*/ 0 w 371"/>
                <a:gd name="T17" fmla="*/ 90 h 125"/>
                <a:gd name="T18" fmla="*/ 123 w 371"/>
                <a:gd name="T19" fmla="*/ 56 h 125"/>
                <a:gd name="T20" fmla="*/ 168 w 371"/>
                <a:gd name="T21" fmla="*/ 45 h 125"/>
                <a:gd name="T22" fmla="*/ 280 w 371"/>
                <a:gd name="T23" fmla="*/ 23 h 125"/>
                <a:gd name="T24" fmla="*/ 325 w 371"/>
                <a:gd name="T25" fmla="*/ 12 h 125"/>
                <a:gd name="T26" fmla="*/ 370 w 371"/>
                <a:gd name="T27" fmla="*/ 34 h 125"/>
                <a:gd name="T28" fmla="*/ 347 w 371"/>
                <a:gd name="T29" fmla="*/ 79 h 125"/>
                <a:gd name="T30" fmla="*/ 190 w 371"/>
                <a:gd name="T31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1" h="125">
                  <a:moveTo>
                    <a:pt x="190" y="124"/>
                  </a:moveTo>
                  <a:lnTo>
                    <a:pt x="190" y="124"/>
                  </a:lnTo>
                  <a:lnTo>
                    <a:pt x="190" y="124"/>
                  </a:lnTo>
                  <a:lnTo>
                    <a:pt x="179" y="124"/>
                  </a:lnTo>
                  <a:cubicBezTo>
                    <a:pt x="168" y="124"/>
                    <a:pt x="157" y="124"/>
                    <a:pt x="146" y="124"/>
                  </a:cubicBezTo>
                  <a:cubicBezTo>
                    <a:pt x="134" y="124"/>
                    <a:pt x="123" y="124"/>
                    <a:pt x="101" y="124"/>
                  </a:cubicBezTo>
                  <a:cubicBezTo>
                    <a:pt x="90" y="124"/>
                    <a:pt x="78" y="124"/>
                    <a:pt x="67" y="124"/>
                  </a:cubicBezTo>
                  <a:cubicBezTo>
                    <a:pt x="33" y="124"/>
                    <a:pt x="22" y="124"/>
                    <a:pt x="11" y="112"/>
                  </a:cubicBezTo>
                  <a:cubicBezTo>
                    <a:pt x="0" y="101"/>
                    <a:pt x="0" y="90"/>
                    <a:pt x="0" y="90"/>
                  </a:cubicBezTo>
                  <a:cubicBezTo>
                    <a:pt x="11" y="56"/>
                    <a:pt x="56" y="56"/>
                    <a:pt x="123" y="56"/>
                  </a:cubicBezTo>
                  <a:cubicBezTo>
                    <a:pt x="134" y="56"/>
                    <a:pt x="157" y="45"/>
                    <a:pt x="168" y="45"/>
                  </a:cubicBezTo>
                  <a:cubicBezTo>
                    <a:pt x="202" y="45"/>
                    <a:pt x="246" y="34"/>
                    <a:pt x="280" y="23"/>
                  </a:cubicBezTo>
                  <a:cubicBezTo>
                    <a:pt x="302" y="12"/>
                    <a:pt x="325" y="12"/>
                    <a:pt x="325" y="12"/>
                  </a:cubicBezTo>
                  <a:cubicBezTo>
                    <a:pt x="347" y="0"/>
                    <a:pt x="370" y="12"/>
                    <a:pt x="370" y="34"/>
                  </a:cubicBezTo>
                  <a:cubicBezTo>
                    <a:pt x="370" y="45"/>
                    <a:pt x="370" y="56"/>
                    <a:pt x="347" y="79"/>
                  </a:cubicBezTo>
                  <a:cubicBezTo>
                    <a:pt x="336" y="90"/>
                    <a:pt x="257" y="124"/>
                    <a:pt x="190" y="12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" name="Freeform 71"/>
            <p:cNvSpPr>
              <a:spLocks noChangeArrowheads="1"/>
            </p:cNvSpPr>
            <p:nvPr/>
          </p:nvSpPr>
          <p:spPr bwMode="auto">
            <a:xfrm>
              <a:off x="9195329" y="5089889"/>
              <a:ext cx="39745" cy="77992"/>
            </a:xfrm>
            <a:custGeom>
              <a:avLst/>
              <a:gdLst>
                <a:gd name="T0" fmla="*/ 78 w 113"/>
                <a:gd name="T1" fmla="*/ 89 h 225"/>
                <a:gd name="T2" fmla="*/ 78 w 113"/>
                <a:gd name="T3" fmla="*/ 89 h 225"/>
                <a:gd name="T4" fmla="*/ 90 w 113"/>
                <a:gd name="T5" fmla="*/ 0 h 225"/>
                <a:gd name="T6" fmla="*/ 67 w 113"/>
                <a:gd name="T7" fmla="*/ 89 h 225"/>
                <a:gd name="T8" fmla="*/ 11 w 113"/>
                <a:gd name="T9" fmla="*/ 190 h 225"/>
                <a:gd name="T10" fmla="*/ 45 w 113"/>
                <a:gd name="T11" fmla="*/ 179 h 225"/>
                <a:gd name="T12" fmla="*/ 78 w 113"/>
                <a:gd name="T13" fmla="*/ 8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225">
                  <a:moveTo>
                    <a:pt x="78" y="89"/>
                  </a:moveTo>
                  <a:lnTo>
                    <a:pt x="78" y="89"/>
                  </a:lnTo>
                  <a:cubicBezTo>
                    <a:pt x="90" y="67"/>
                    <a:pt x="112" y="11"/>
                    <a:pt x="90" y="0"/>
                  </a:cubicBezTo>
                  <a:cubicBezTo>
                    <a:pt x="67" y="0"/>
                    <a:pt x="67" y="45"/>
                    <a:pt x="67" y="89"/>
                  </a:cubicBezTo>
                  <a:cubicBezTo>
                    <a:pt x="67" y="123"/>
                    <a:pt x="22" y="168"/>
                    <a:pt x="11" y="190"/>
                  </a:cubicBezTo>
                  <a:cubicBezTo>
                    <a:pt x="0" y="224"/>
                    <a:pt x="22" y="224"/>
                    <a:pt x="45" y="179"/>
                  </a:cubicBezTo>
                  <a:cubicBezTo>
                    <a:pt x="67" y="134"/>
                    <a:pt x="67" y="112"/>
                    <a:pt x="78" y="8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" name="Freeform 72"/>
            <p:cNvSpPr>
              <a:spLocks noChangeArrowheads="1"/>
            </p:cNvSpPr>
            <p:nvPr/>
          </p:nvSpPr>
          <p:spPr bwMode="auto">
            <a:xfrm>
              <a:off x="9192272" y="5082243"/>
              <a:ext cx="47389" cy="90225"/>
            </a:xfrm>
            <a:custGeom>
              <a:avLst/>
              <a:gdLst>
                <a:gd name="T0" fmla="*/ 23 w 136"/>
                <a:gd name="T1" fmla="*/ 257 h 258"/>
                <a:gd name="T2" fmla="*/ 23 w 136"/>
                <a:gd name="T3" fmla="*/ 257 h 258"/>
                <a:gd name="T4" fmla="*/ 23 w 136"/>
                <a:gd name="T5" fmla="*/ 257 h 258"/>
                <a:gd name="T6" fmla="*/ 0 w 136"/>
                <a:gd name="T7" fmla="*/ 246 h 258"/>
                <a:gd name="T8" fmla="*/ 0 w 136"/>
                <a:gd name="T9" fmla="*/ 212 h 258"/>
                <a:gd name="T10" fmla="*/ 23 w 136"/>
                <a:gd name="T11" fmla="*/ 156 h 258"/>
                <a:gd name="T12" fmla="*/ 57 w 136"/>
                <a:gd name="T13" fmla="*/ 100 h 258"/>
                <a:gd name="T14" fmla="*/ 57 w 136"/>
                <a:gd name="T15" fmla="*/ 100 h 258"/>
                <a:gd name="T16" fmla="*/ 102 w 136"/>
                <a:gd name="T17" fmla="*/ 0 h 258"/>
                <a:gd name="T18" fmla="*/ 113 w 136"/>
                <a:gd name="T19" fmla="*/ 11 h 258"/>
                <a:gd name="T20" fmla="*/ 124 w 136"/>
                <a:gd name="T21" fmla="*/ 22 h 258"/>
                <a:gd name="T22" fmla="*/ 113 w 136"/>
                <a:gd name="T23" fmla="*/ 123 h 258"/>
                <a:gd name="T24" fmla="*/ 102 w 136"/>
                <a:gd name="T25" fmla="*/ 145 h 258"/>
                <a:gd name="T26" fmla="*/ 79 w 136"/>
                <a:gd name="T27" fmla="*/ 212 h 258"/>
                <a:gd name="T28" fmla="*/ 23 w 136"/>
                <a:gd name="T29" fmla="*/ 257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6" h="258">
                  <a:moveTo>
                    <a:pt x="23" y="257"/>
                  </a:moveTo>
                  <a:lnTo>
                    <a:pt x="23" y="257"/>
                  </a:lnTo>
                  <a:lnTo>
                    <a:pt x="23" y="257"/>
                  </a:lnTo>
                  <a:cubicBezTo>
                    <a:pt x="23" y="257"/>
                    <a:pt x="12" y="257"/>
                    <a:pt x="0" y="246"/>
                  </a:cubicBezTo>
                  <a:cubicBezTo>
                    <a:pt x="0" y="246"/>
                    <a:pt x="0" y="235"/>
                    <a:pt x="0" y="212"/>
                  </a:cubicBezTo>
                  <a:cubicBezTo>
                    <a:pt x="0" y="190"/>
                    <a:pt x="12" y="179"/>
                    <a:pt x="23" y="156"/>
                  </a:cubicBezTo>
                  <a:cubicBezTo>
                    <a:pt x="45" y="145"/>
                    <a:pt x="57" y="123"/>
                    <a:pt x="57" y="100"/>
                  </a:cubicBezTo>
                  <a:lnTo>
                    <a:pt x="57" y="100"/>
                  </a:lnTo>
                  <a:cubicBezTo>
                    <a:pt x="57" y="56"/>
                    <a:pt x="57" y="0"/>
                    <a:pt x="102" y="0"/>
                  </a:cubicBezTo>
                  <a:cubicBezTo>
                    <a:pt x="102" y="0"/>
                    <a:pt x="102" y="0"/>
                    <a:pt x="113" y="11"/>
                  </a:cubicBezTo>
                  <a:cubicBezTo>
                    <a:pt x="113" y="11"/>
                    <a:pt x="124" y="11"/>
                    <a:pt x="124" y="22"/>
                  </a:cubicBezTo>
                  <a:cubicBezTo>
                    <a:pt x="135" y="44"/>
                    <a:pt x="135" y="67"/>
                    <a:pt x="113" y="123"/>
                  </a:cubicBezTo>
                  <a:cubicBezTo>
                    <a:pt x="102" y="134"/>
                    <a:pt x="102" y="134"/>
                    <a:pt x="102" y="145"/>
                  </a:cubicBezTo>
                  <a:cubicBezTo>
                    <a:pt x="102" y="156"/>
                    <a:pt x="90" y="179"/>
                    <a:pt x="79" y="212"/>
                  </a:cubicBezTo>
                  <a:cubicBezTo>
                    <a:pt x="57" y="246"/>
                    <a:pt x="45" y="257"/>
                    <a:pt x="23" y="25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" name="Freeform 73"/>
            <p:cNvSpPr>
              <a:spLocks noChangeArrowheads="1"/>
            </p:cNvSpPr>
            <p:nvPr/>
          </p:nvSpPr>
          <p:spPr bwMode="auto">
            <a:xfrm>
              <a:off x="8302600" y="4993547"/>
              <a:ext cx="77961" cy="50465"/>
            </a:xfrm>
            <a:custGeom>
              <a:avLst/>
              <a:gdLst>
                <a:gd name="T0" fmla="*/ 213 w 225"/>
                <a:gd name="T1" fmla="*/ 67 h 146"/>
                <a:gd name="T2" fmla="*/ 213 w 225"/>
                <a:gd name="T3" fmla="*/ 67 h 146"/>
                <a:gd name="T4" fmla="*/ 191 w 225"/>
                <a:gd name="T5" fmla="*/ 33 h 146"/>
                <a:gd name="T6" fmla="*/ 101 w 225"/>
                <a:gd name="T7" fmla="*/ 78 h 146"/>
                <a:gd name="T8" fmla="*/ 11 w 225"/>
                <a:gd name="T9" fmla="*/ 123 h 146"/>
                <a:gd name="T10" fmla="*/ 135 w 225"/>
                <a:gd name="T11" fmla="*/ 101 h 146"/>
                <a:gd name="T12" fmla="*/ 213 w 225"/>
                <a:gd name="T13" fmla="*/ 6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146">
                  <a:moveTo>
                    <a:pt x="213" y="67"/>
                  </a:moveTo>
                  <a:lnTo>
                    <a:pt x="213" y="67"/>
                  </a:lnTo>
                  <a:cubicBezTo>
                    <a:pt x="224" y="45"/>
                    <a:pt x="224" y="0"/>
                    <a:pt x="191" y="33"/>
                  </a:cubicBezTo>
                  <a:cubicBezTo>
                    <a:pt x="168" y="56"/>
                    <a:pt x="135" y="78"/>
                    <a:pt x="101" y="78"/>
                  </a:cubicBezTo>
                  <a:cubicBezTo>
                    <a:pt x="56" y="78"/>
                    <a:pt x="0" y="101"/>
                    <a:pt x="11" y="123"/>
                  </a:cubicBezTo>
                  <a:cubicBezTo>
                    <a:pt x="23" y="145"/>
                    <a:pt x="101" y="123"/>
                    <a:pt x="135" y="101"/>
                  </a:cubicBezTo>
                  <a:cubicBezTo>
                    <a:pt x="157" y="78"/>
                    <a:pt x="213" y="78"/>
                    <a:pt x="213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" name="Freeform 74"/>
            <p:cNvSpPr>
              <a:spLocks noChangeArrowheads="1"/>
            </p:cNvSpPr>
            <p:nvPr/>
          </p:nvSpPr>
          <p:spPr bwMode="auto">
            <a:xfrm>
              <a:off x="8298015" y="4993547"/>
              <a:ext cx="90190" cy="55053"/>
            </a:xfrm>
            <a:custGeom>
              <a:avLst/>
              <a:gdLst>
                <a:gd name="T0" fmla="*/ 45 w 259"/>
                <a:gd name="T1" fmla="*/ 156 h 157"/>
                <a:gd name="T2" fmla="*/ 45 w 259"/>
                <a:gd name="T3" fmla="*/ 156 h 157"/>
                <a:gd name="T4" fmla="*/ 45 w 259"/>
                <a:gd name="T5" fmla="*/ 156 h 157"/>
                <a:gd name="T6" fmla="*/ 0 w 259"/>
                <a:gd name="T7" fmla="*/ 134 h 157"/>
                <a:gd name="T8" fmla="*/ 0 w 259"/>
                <a:gd name="T9" fmla="*/ 101 h 157"/>
                <a:gd name="T10" fmla="*/ 101 w 259"/>
                <a:gd name="T11" fmla="*/ 56 h 157"/>
                <a:gd name="T12" fmla="*/ 191 w 259"/>
                <a:gd name="T13" fmla="*/ 11 h 157"/>
                <a:gd name="T14" fmla="*/ 224 w 259"/>
                <a:gd name="T15" fmla="*/ 0 h 157"/>
                <a:gd name="T16" fmla="*/ 246 w 259"/>
                <a:gd name="T17" fmla="*/ 11 h 157"/>
                <a:gd name="T18" fmla="*/ 246 w 259"/>
                <a:gd name="T19" fmla="*/ 67 h 157"/>
                <a:gd name="T20" fmla="*/ 202 w 259"/>
                <a:gd name="T21" fmla="*/ 101 h 157"/>
                <a:gd name="T22" fmla="*/ 157 w 259"/>
                <a:gd name="T23" fmla="*/ 112 h 157"/>
                <a:gd name="T24" fmla="*/ 45 w 259"/>
                <a:gd name="T25" fmla="*/ 15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9" h="157">
                  <a:moveTo>
                    <a:pt x="45" y="156"/>
                  </a:moveTo>
                  <a:lnTo>
                    <a:pt x="45" y="156"/>
                  </a:lnTo>
                  <a:lnTo>
                    <a:pt x="45" y="156"/>
                  </a:lnTo>
                  <a:cubicBezTo>
                    <a:pt x="11" y="156"/>
                    <a:pt x="11" y="145"/>
                    <a:pt x="0" y="134"/>
                  </a:cubicBezTo>
                  <a:cubicBezTo>
                    <a:pt x="0" y="123"/>
                    <a:pt x="0" y="112"/>
                    <a:pt x="0" y="101"/>
                  </a:cubicBezTo>
                  <a:cubicBezTo>
                    <a:pt x="22" y="78"/>
                    <a:pt x="79" y="56"/>
                    <a:pt x="101" y="56"/>
                  </a:cubicBezTo>
                  <a:cubicBezTo>
                    <a:pt x="146" y="56"/>
                    <a:pt x="168" y="33"/>
                    <a:pt x="191" y="11"/>
                  </a:cubicBezTo>
                  <a:cubicBezTo>
                    <a:pt x="202" y="0"/>
                    <a:pt x="213" y="0"/>
                    <a:pt x="224" y="0"/>
                  </a:cubicBezTo>
                  <a:cubicBezTo>
                    <a:pt x="224" y="0"/>
                    <a:pt x="235" y="0"/>
                    <a:pt x="246" y="11"/>
                  </a:cubicBezTo>
                  <a:cubicBezTo>
                    <a:pt x="258" y="33"/>
                    <a:pt x="246" y="56"/>
                    <a:pt x="246" y="67"/>
                  </a:cubicBezTo>
                  <a:cubicBezTo>
                    <a:pt x="235" y="89"/>
                    <a:pt x="224" y="89"/>
                    <a:pt x="202" y="101"/>
                  </a:cubicBezTo>
                  <a:cubicBezTo>
                    <a:pt x="179" y="101"/>
                    <a:pt x="168" y="112"/>
                    <a:pt x="157" y="112"/>
                  </a:cubicBezTo>
                  <a:cubicBezTo>
                    <a:pt x="135" y="134"/>
                    <a:pt x="79" y="156"/>
                    <a:pt x="45" y="15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" name="Freeform 75"/>
            <p:cNvSpPr>
              <a:spLocks noChangeArrowheads="1"/>
            </p:cNvSpPr>
            <p:nvPr/>
          </p:nvSpPr>
          <p:spPr bwMode="auto">
            <a:xfrm>
              <a:off x="8134449" y="4476663"/>
              <a:ext cx="24458" cy="22938"/>
            </a:xfrm>
            <a:custGeom>
              <a:avLst/>
              <a:gdLst>
                <a:gd name="T0" fmla="*/ 68 w 69"/>
                <a:gd name="T1" fmla="*/ 23 h 68"/>
                <a:gd name="T2" fmla="*/ 68 w 69"/>
                <a:gd name="T3" fmla="*/ 23 h 68"/>
                <a:gd name="T4" fmla="*/ 23 w 69"/>
                <a:gd name="T5" fmla="*/ 0 h 68"/>
                <a:gd name="T6" fmla="*/ 34 w 69"/>
                <a:gd name="T7" fmla="*/ 56 h 68"/>
                <a:gd name="T8" fmla="*/ 68 w 69"/>
                <a:gd name="T9" fmla="*/ 2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8">
                  <a:moveTo>
                    <a:pt x="68" y="23"/>
                  </a:moveTo>
                  <a:lnTo>
                    <a:pt x="68" y="23"/>
                  </a:lnTo>
                  <a:cubicBezTo>
                    <a:pt x="68" y="0"/>
                    <a:pt x="45" y="11"/>
                    <a:pt x="23" y="0"/>
                  </a:cubicBezTo>
                  <a:cubicBezTo>
                    <a:pt x="12" y="0"/>
                    <a:pt x="0" y="67"/>
                    <a:pt x="34" y="56"/>
                  </a:cubicBezTo>
                  <a:cubicBezTo>
                    <a:pt x="68" y="56"/>
                    <a:pt x="68" y="34"/>
                    <a:pt x="68" y="2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" name="Freeform 76"/>
            <p:cNvSpPr>
              <a:spLocks noChangeArrowheads="1"/>
            </p:cNvSpPr>
            <p:nvPr/>
          </p:nvSpPr>
          <p:spPr bwMode="auto">
            <a:xfrm>
              <a:off x="8131392" y="4469016"/>
              <a:ext cx="15286" cy="35173"/>
            </a:xfrm>
            <a:custGeom>
              <a:avLst/>
              <a:gdLst>
                <a:gd name="T0" fmla="*/ 45 w 46"/>
                <a:gd name="T1" fmla="*/ 101 h 102"/>
                <a:gd name="T2" fmla="*/ 45 w 46"/>
                <a:gd name="T3" fmla="*/ 101 h 102"/>
                <a:gd name="T4" fmla="*/ 0 w 46"/>
                <a:gd name="T5" fmla="*/ 56 h 102"/>
                <a:gd name="T6" fmla="*/ 11 w 46"/>
                <a:gd name="T7" fmla="*/ 22 h 102"/>
                <a:gd name="T8" fmla="*/ 34 w 46"/>
                <a:gd name="T9" fmla="*/ 0 h 102"/>
                <a:gd name="T10" fmla="*/ 34 w 46"/>
                <a:gd name="T11" fmla="*/ 45 h 102"/>
                <a:gd name="T12" fmla="*/ 45 w 46"/>
                <a:gd name="T13" fmla="*/ 45 h 102"/>
                <a:gd name="T14" fmla="*/ 45 w 46"/>
                <a:gd name="T15" fmla="*/ 56 h 102"/>
                <a:gd name="T16" fmla="*/ 45 w 46"/>
                <a:gd name="T17" fmla="*/ 56 h 102"/>
                <a:gd name="T18" fmla="*/ 45 w 46"/>
                <a:gd name="T19" fmla="*/ 56 h 102"/>
                <a:gd name="T20" fmla="*/ 45 w 46"/>
                <a:gd name="T21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102">
                  <a:moveTo>
                    <a:pt x="45" y="101"/>
                  </a:moveTo>
                  <a:lnTo>
                    <a:pt x="45" y="101"/>
                  </a:lnTo>
                  <a:cubicBezTo>
                    <a:pt x="23" y="101"/>
                    <a:pt x="0" y="78"/>
                    <a:pt x="0" y="56"/>
                  </a:cubicBezTo>
                  <a:cubicBezTo>
                    <a:pt x="0" y="45"/>
                    <a:pt x="0" y="33"/>
                    <a:pt x="11" y="22"/>
                  </a:cubicBezTo>
                  <a:cubicBezTo>
                    <a:pt x="11" y="11"/>
                    <a:pt x="34" y="0"/>
                    <a:pt x="34" y="0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56"/>
                  </a:cubicBezTo>
                  <a:lnTo>
                    <a:pt x="45" y="56"/>
                  </a:lnTo>
                  <a:lnTo>
                    <a:pt x="45" y="56"/>
                  </a:lnTo>
                  <a:cubicBezTo>
                    <a:pt x="45" y="101"/>
                    <a:pt x="45" y="101"/>
                    <a:pt x="45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" name="Freeform 77"/>
            <p:cNvSpPr>
              <a:spLocks noChangeArrowheads="1"/>
            </p:cNvSpPr>
            <p:nvPr/>
          </p:nvSpPr>
          <p:spPr bwMode="auto">
            <a:xfrm>
              <a:off x="8220053" y="4655584"/>
              <a:ext cx="32102" cy="30585"/>
            </a:xfrm>
            <a:custGeom>
              <a:avLst/>
              <a:gdLst>
                <a:gd name="T0" fmla="*/ 67 w 91"/>
                <a:gd name="T1" fmla="*/ 45 h 90"/>
                <a:gd name="T2" fmla="*/ 67 w 91"/>
                <a:gd name="T3" fmla="*/ 45 h 90"/>
                <a:gd name="T4" fmla="*/ 45 w 91"/>
                <a:gd name="T5" fmla="*/ 11 h 90"/>
                <a:gd name="T6" fmla="*/ 22 w 91"/>
                <a:gd name="T7" fmla="*/ 56 h 90"/>
                <a:gd name="T8" fmla="*/ 67 w 91"/>
                <a:gd name="T9" fmla="*/ 78 h 90"/>
                <a:gd name="T10" fmla="*/ 67 w 91"/>
                <a:gd name="T11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0">
                  <a:moveTo>
                    <a:pt x="67" y="45"/>
                  </a:moveTo>
                  <a:lnTo>
                    <a:pt x="67" y="45"/>
                  </a:lnTo>
                  <a:cubicBezTo>
                    <a:pt x="67" y="33"/>
                    <a:pt x="67" y="0"/>
                    <a:pt x="45" y="11"/>
                  </a:cubicBezTo>
                  <a:cubicBezTo>
                    <a:pt x="34" y="11"/>
                    <a:pt x="34" y="45"/>
                    <a:pt x="22" y="56"/>
                  </a:cubicBezTo>
                  <a:cubicBezTo>
                    <a:pt x="0" y="67"/>
                    <a:pt x="56" y="89"/>
                    <a:pt x="67" y="78"/>
                  </a:cubicBezTo>
                  <a:cubicBezTo>
                    <a:pt x="90" y="67"/>
                    <a:pt x="67" y="45"/>
                    <a:pt x="67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" name="Freeform 78"/>
            <p:cNvSpPr>
              <a:spLocks noChangeArrowheads="1"/>
            </p:cNvSpPr>
            <p:nvPr/>
          </p:nvSpPr>
          <p:spPr bwMode="auto">
            <a:xfrm>
              <a:off x="8216996" y="4650997"/>
              <a:ext cx="39745" cy="38231"/>
            </a:xfrm>
            <a:custGeom>
              <a:avLst/>
              <a:gdLst>
                <a:gd name="T0" fmla="*/ 68 w 114"/>
                <a:gd name="T1" fmla="*/ 111 h 112"/>
                <a:gd name="T2" fmla="*/ 68 w 114"/>
                <a:gd name="T3" fmla="*/ 111 h 112"/>
                <a:gd name="T4" fmla="*/ 68 w 114"/>
                <a:gd name="T5" fmla="*/ 111 h 112"/>
                <a:gd name="T6" fmla="*/ 12 w 114"/>
                <a:gd name="T7" fmla="*/ 78 h 112"/>
                <a:gd name="T8" fmla="*/ 12 w 114"/>
                <a:gd name="T9" fmla="*/ 56 h 112"/>
                <a:gd name="T10" fmla="*/ 23 w 114"/>
                <a:gd name="T11" fmla="*/ 33 h 112"/>
                <a:gd name="T12" fmla="*/ 57 w 114"/>
                <a:gd name="T13" fmla="*/ 0 h 112"/>
                <a:gd name="T14" fmla="*/ 68 w 114"/>
                <a:gd name="T15" fmla="*/ 0 h 112"/>
                <a:gd name="T16" fmla="*/ 102 w 114"/>
                <a:gd name="T17" fmla="*/ 44 h 112"/>
                <a:gd name="T18" fmla="*/ 102 w 114"/>
                <a:gd name="T19" fmla="*/ 56 h 112"/>
                <a:gd name="T20" fmla="*/ 102 w 114"/>
                <a:gd name="T21" fmla="*/ 100 h 112"/>
                <a:gd name="T22" fmla="*/ 68 w 114"/>
                <a:gd name="T23" fmla="*/ 111 h 112"/>
                <a:gd name="T24" fmla="*/ 57 w 114"/>
                <a:gd name="T25" fmla="*/ 67 h 112"/>
                <a:gd name="T26" fmla="*/ 57 w 114"/>
                <a:gd name="T27" fmla="*/ 67 h 112"/>
                <a:gd name="T28" fmla="*/ 68 w 114"/>
                <a:gd name="T29" fmla="*/ 67 h 112"/>
                <a:gd name="T30" fmla="*/ 68 w 114"/>
                <a:gd name="T31" fmla="*/ 67 h 112"/>
                <a:gd name="T32" fmla="*/ 57 w 114"/>
                <a:gd name="T33" fmla="*/ 56 h 112"/>
                <a:gd name="T34" fmla="*/ 57 w 114"/>
                <a:gd name="T35" fmla="*/ 6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2">
                  <a:moveTo>
                    <a:pt x="68" y="111"/>
                  </a:moveTo>
                  <a:lnTo>
                    <a:pt x="68" y="111"/>
                  </a:lnTo>
                  <a:lnTo>
                    <a:pt x="68" y="111"/>
                  </a:lnTo>
                  <a:cubicBezTo>
                    <a:pt x="57" y="111"/>
                    <a:pt x="12" y="111"/>
                    <a:pt x="12" y="78"/>
                  </a:cubicBezTo>
                  <a:cubicBezTo>
                    <a:pt x="0" y="78"/>
                    <a:pt x="12" y="67"/>
                    <a:pt x="12" y="56"/>
                  </a:cubicBezTo>
                  <a:cubicBezTo>
                    <a:pt x="23" y="56"/>
                    <a:pt x="23" y="44"/>
                    <a:pt x="23" y="33"/>
                  </a:cubicBezTo>
                  <a:cubicBezTo>
                    <a:pt x="34" y="22"/>
                    <a:pt x="34" y="0"/>
                    <a:pt x="57" y="0"/>
                  </a:cubicBezTo>
                  <a:cubicBezTo>
                    <a:pt x="57" y="0"/>
                    <a:pt x="57" y="0"/>
                    <a:pt x="68" y="0"/>
                  </a:cubicBezTo>
                  <a:cubicBezTo>
                    <a:pt x="90" y="0"/>
                    <a:pt x="102" y="22"/>
                    <a:pt x="102" y="44"/>
                  </a:cubicBezTo>
                  <a:lnTo>
                    <a:pt x="102" y="56"/>
                  </a:lnTo>
                  <a:cubicBezTo>
                    <a:pt x="113" y="67"/>
                    <a:pt x="113" y="89"/>
                    <a:pt x="102" y="100"/>
                  </a:cubicBezTo>
                  <a:cubicBezTo>
                    <a:pt x="90" y="111"/>
                    <a:pt x="79" y="111"/>
                    <a:pt x="68" y="111"/>
                  </a:cubicBezTo>
                  <a:close/>
                  <a:moveTo>
                    <a:pt x="57" y="67"/>
                  </a:moveTo>
                  <a:lnTo>
                    <a:pt x="57" y="67"/>
                  </a:lnTo>
                  <a:cubicBezTo>
                    <a:pt x="57" y="67"/>
                    <a:pt x="57" y="67"/>
                    <a:pt x="68" y="67"/>
                  </a:cubicBezTo>
                  <a:lnTo>
                    <a:pt x="68" y="67"/>
                  </a:lnTo>
                  <a:cubicBezTo>
                    <a:pt x="68" y="67"/>
                    <a:pt x="57" y="67"/>
                    <a:pt x="57" y="56"/>
                  </a:cubicBezTo>
                  <a:cubicBezTo>
                    <a:pt x="57" y="67"/>
                    <a:pt x="57" y="67"/>
                    <a:pt x="57" y="67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" name="Freeform 81"/>
            <p:cNvSpPr>
              <a:spLocks noChangeArrowheads="1"/>
            </p:cNvSpPr>
            <p:nvPr/>
          </p:nvSpPr>
          <p:spPr bwMode="auto">
            <a:xfrm>
              <a:off x="3629530" y="3485714"/>
              <a:ext cx="128406" cy="194213"/>
            </a:xfrm>
            <a:custGeom>
              <a:avLst/>
              <a:gdLst>
                <a:gd name="T0" fmla="*/ 90 w 371"/>
                <a:gd name="T1" fmla="*/ 213 h 561"/>
                <a:gd name="T2" fmla="*/ 90 w 371"/>
                <a:gd name="T3" fmla="*/ 213 h 561"/>
                <a:gd name="T4" fmla="*/ 90 w 371"/>
                <a:gd name="T5" fmla="*/ 89 h 561"/>
                <a:gd name="T6" fmla="*/ 112 w 371"/>
                <a:gd name="T7" fmla="*/ 11 h 561"/>
                <a:gd name="T8" fmla="*/ 57 w 371"/>
                <a:gd name="T9" fmla="*/ 112 h 561"/>
                <a:gd name="T10" fmla="*/ 23 w 371"/>
                <a:gd name="T11" fmla="*/ 179 h 561"/>
                <a:gd name="T12" fmla="*/ 34 w 371"/>
                <a:gd name="T13" fmla="*/ 213 h 561"/>
                <a:gd name="T14" fmla="*/ 101 w 371"/>
                <a:gd name="T15" fmla="*/ 313 h 561"/>
                <a:gd name="T16" fmla="*/ 146 w 371"/>
                <a:gd name="T17" fmla="*/ 380 h 561"/>
                <a:gd name="T18" fmla="*/ 224 w 371"/>
                <a:gd name="T19" fmla="*/ 425 h 561"/>
                <a:gd name="T20" fmla="*/ 359 w 371"/>
                <a:gd name="T21" fmla="*/ 538 h 561"/>
                <a:gd name="T22" fmla="*/ 348 w 371"/>
                <a:gd name="T23" fmla="*/ 482 h 561"/>
                <a:gd name="T24" fmla="*/ 258 w 371"/>
                <a:gd name="T25" fmla="*/ 414 h 561"/>
                <a:gd name="T26" fmla="*/ 180 w 371"/>
                <a:gd name="T27" fmla="*/ 347 h 561"/>
                <a:gd name="T28" fmla="*/ 146 w 371"/>
                <a:gd name="T29" fmla="*/ 280 h 561"/>
                <a:gd name="T30" fmla="*/ 90 w 371"/>
                <a:gd name="T31" fmla="*/ 21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1" h="561">
                  <a:moveTo>
                    <a:pt x="90" y="213"/>
                  </a:moveTo>
                  <a:lnTo>
                    <a:pt x="90" y="213"/>
                  </a:lnTo>
                  <a:cubicBezTo>
                    <a:pt x="79" y="201"/>
                    <a:pt x="79" y="134"/>
                    <a:pt x="90" y="89"/>
                  </a:cubicBezTo>
                  <a:cubicBezTo>
                    <a:pt x="112" y="56"/>
                    <a:pt x="124" y="22"/>
                    <a:pt x="112" y="11"/>
                  </a:cubicBezTo>
                  <a:cubicBezTo>
                    <a:pt x="101" y="0"/>
                    <a:pt x="68" y="67"/>
                    <a:pt x="57" y="112"/>
                  </a:cubicBezTo>
                  <a:cubicBezTo>
                    <a:pt x="57" y="145"/>
                    <a:pt x="34" y="168"/>
                    <a:pt x="23" y="179"/>
                  </a:cubicBezTo>
                  <a:cubicBezTo>
                    <a:pt x="0" y="201"/>
                    <a:pt x="12" y="213"/>
                    <a:pt x="34" y="213"/>
                  </a:cubicBezTo>
                  <a:cubicBezTo>
                    <a:pt x="68" y="213"/>
                    <a:pt x="101" y="291"/>
                    <a:pt x="101" y="313"/>
                  </a:cubicBezTo>
                  <a:cubicBezTo>
                    <a:pt x="101" y="336"/>
                    <a:pt x="124" y="380"/>
                    <a:pt x="146" y="380"/>
                  </a:cubicBezTo>
                  <a:cubicBezTo>
                    <a:pt x="168" y="392"/>
                    <a:pt x="191" y="425"/>
                    <a:pt x="224" y="425"/>
                  </a:cubicBezTo>
                  <a:cubicBezTo>
                    <a:pt x="258" y="425"/>
                    <a:pt x="348" y="515"/>
                    <a:pt x="359" y="538"/>
                  </a:cubicBezTo>
                  <a:cubicBezTo>
                    <a:pt x="359" y="560"/>
                    <a:pt x="370" y="493"/>
                    <a:pt x="348" y="482"/>
                  </a:cubicBezTo>
                  <a:cubicBezTo>
                    <a:pt x="314" y="459"/>
                    <a:pt x="292" y="425"/>
                    <a:pt x="258" y="414"/>
                  </a:cubicBezTo>
                  <a:cubicBezTo>
                    <a:pt x="236" y="403"/>
                    <a:pt x="213" y="358"/>
                    <a:pt x="180" y="347"/>
                  </a:cubicBezTo>
                  <a:cubicBezTo>
                    <a:pt x="146" y="347"/>
                    <a:pt x="168" y="291"/>
                    <a:pt x="146" y="280"/>
                  </a:cubicBezTo>
                  <a:cubicBezTo>
                    <a:pt x="124" y="280"/>
                    <a:pt x="101" y="224"/>
                    <a:pt x="90" y="21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" name="Freeform 82"/>
            <p:cNvSpPr>
              <a:spLocks noChangeArrowheads="1"/>
            </p:cNvSpPr>
            <p:nvPr/>
          </p:nvSpPr>
          <p:spPr bwMode="auto">
            <a:xfrm>
              <a:off x="3624944" y="3482655"/>
              <a:ext cx="136050" cy="201860"/>
            </a:xfrm>
            <a:custGeom>
              <a:avLst/>
              <a:gdLst>
                <a:gd name="T0" fmla="*/ 370 w 393"/>
                <a:gd name="T1" fmla="*/ 582 h 583"/>
                <a:gd name="T2" fmla="*/ 370 w 393"/>
                <a:gd name="T3" fmla="*/ 582 h 583"/>
                <a:gd name="T4" fmla="*/ 370 w 393"/>
                <a:gd name="T5" fmla="*/ 582 h 583"/>
                <a:gd name="T6" fmla="*/ 348 w 393"/>
                <a:gd name="T7" fmla="*/ 560 h 583"/>
                <a:gd name="T8" fmla="*/ 235 w 393"/>
                <a:gd name="T9" fmla="*/ 459 h 583"/>
                <a:gd name="T10" fmla="*/ 168 w 393"/>
                <a:gd name="T11" fmla="*/ 425 h 583"/>
                <a:gd name="T12" fmla="*/ 157 w 393"/>
                <a:gd name="T13" fmla="*/ 414 h 583"/>
                <a:gd name="T14" fmla="*/ 90 w 393"/>
                <a:gd name="T15" fmla="*/ 324 h 583"/>
                <a:gd name="T16" fmla="*/ 45 w 393"/>
                <a:gd name="T17" fmla="*/ 246 h 583"/>
                <a:gd name="T18" fmla="*/ 45 w 393"/>
                <a:gd name="T19" fmla="*/ 246 h 583"/>
                <a:gd name="T20" fmla="*/ 0 w 393"/>
                <a:gd name="T21" fmla="*/ 224 h 583"/>
                <a:gd name="T22" fmla="*/ 23 w 393"/>
                <a:gd name="T23" fmla="*/ 179 h 583"/>
                <a:gd name="T24" fmla="*/ 56 w 393"/>
                <a:gd name="T25" fmla="*/ 111 h 583"/>
                <a:gd name="T26" fmla="*/ 123 w 393"/>
                <a:gd name="T27" fmla="*/ 0 h 583"/>
                <a:gd name="T28" fmla="*/ 135 w 393"/>
                <a:gd name="T29" fmla="*/ 0 h 583"/>
                <a:gd name="T30" fmla="*/ 135 w 393"/>
                <a:gd name="T31" fmla="*/ 100 h 583"/>
                <a:gd name="T32" fmla="*/ 123 w 393"/>
                <a:gd name="T33" fmla="*/ 111 h 583"/>
                <a:gd name="T34" fmla="*/ 123 w 393"/>
                <a:gd name="T35" fmla="*/ 212 h 583"/>
                <a:gd name="T36" fmla="*/ 135 w 393"/>
                <a:gd name="T37" fmla="*/ 235 h 583"/>
                <a:gd name="T38" fmla="*/ 168 w 393"/>
                <a:gd name="T39" fmla="*/ 280 h 583"/>
                <a:gd name="T40" fmla="*/ 191 w 393"/>
                <a:gd name="T41" fmla="*/ 324 h 583"/>
                <a:gd name="T42" fmla="*/ 191 w 393"/>
                <a:gd name="T43" fmla="*/ 336 h 583"/>
                <a:gd name="T44" fmla="*/ 191 w 393"/>
                <a:gd name="T45" fmla="*/ 336 h 583"/>
                <a:gd name="T46" fmla="*/ 258 w 393"/>
                <a:gd name="T47" fmla="*/ 380 h 583"/>
                <a:gd name="T48" fmla="*/ 280 w 393"/>
                <a:gd name="T49" fmla="*/ 403 h 583"/>
                <a:gd name="T50" fmla="*/ 348 w 393"/>
                <a:gd name="T51" fmla="*/ 448 h 583"/>
                <a:gd name="T52" fmla="*/ 370 w 393"/>
                <a:gd name="T53" fmla="*/ 470 h 583"/>
                <a:gd name="T54" fmla="*/ 392 w 393"/>
                <a:gd name="T55" fmla="*/ 560 h 583"/>
                <a:gd name="T56" fmla="*/ 370 w 393"/>
                <a:gd name="T57" fmla="*/ 582 h 583"/>
                <a:gd name="T58" fmla="*/ 179 w 393"/>
                <a:gd name="T59" fmla="*/ 380 h 583"/>
                <a:gd name="T60" fmla="*/ 179 w 393"/>
                <a:gd name="T61" fmla="*/ 380 h 583"/>
                <a:gd name="T62" fmla="*/ 202 w 393"/>
                <a:gd name="T63" fmla="*/ 391 h 583"/>
                <a:gd name="T64" fmla="*/ 224 w 393"/>
                <a:gd name="T65" fmla="*/ 414 h 583"/>
                <a:gd name="T66" fmla="*/ 191 w 393"/>
                <a:gd name="T67" fmla="*/ 380 h 583"/>
                <a:gd name="T68" fmla="*/ 179 w 393"/>
                <a:gd name="T69" fmla="*/ 380 h 583"/>
                <a:gd name="T70" fmla="*/ 123 w 393"/>
                <a:gd name="T71" fmla="*/ 291 h 583"/>
                <a:gd name="T72" fmla="*/ 123 w 393"/>
                <a:gd name="T73" fmla="*/ 291 h 583"/>
                <a:gd name="T74" fmla="*/ 135 w 393"/>
                <a:gd name="T75" fmla="*/ 324 h 583"/>
                <a:gd name="T76" fmla="*/ 157 w 393"/>
                <a:gd name="T77" fmla="*/ 369 h 583"/>
                <a:gd name="T78" fmla="*/ 146 w 393"/>
                <a:gd name="T79" fmla="*/ 324 h 583"/>
                <a:gd name="T80" fmla="*/ 146 w 393"/>
                <a:gd name="T81" fmla="*/ 313 h 583"/>
                <a:gd name="T82" fmla="*/ 123 w 393"/>
                <a:gd name="T83" fmla="*/ 291 h 583"/>
                <a:gd name="T84" fmla="*/ 56 w 393"/>
                <a:gd name="T85" fmla="*/ 201 h 583"/>
                <a:gd name="T86" fmla="*/ 56 w 393"/>
                <a:gd name="T87" fmla="*/ 201 h 583"/>
                <a:gd name="T88" fmla="*/ 79 w 393"/>
                <a:gd name="T89" fmla="*/ 212 h 583"/>
                <a:gd name="T90" fmla="*/ 68 w 393"/>
                <a:gd name="T91" fmla="*/ 179 h 583"/>
                <a:gd name="T92" fmla="*/ 56 w 393"/>
                <a:gd name="T93" fmla="*/ 20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3" h="583">
                  <a:moveTo>
                    <a:pt x="370" y="582"/>
                  </a:moveTo>
                  <a:lnTo>
                    <a:pt x="370" y="582"/>
                  </a:lnTo>
                  <a:lnTo>
                    <a:pt x="370" y="582"/>
                  </a:lnTo>
                  <a:cubicBezTo>
                    <a:pt x="359" y="582"/>
                    <a:pt x="348" y="571"/>
                    <a:pt x="348" y="560"/>
                  </a:cubicBezTo>
                  <a:cubicBezTo>
                    <a:pt x="337" y="537"/>
                    <a:pt x="258" y="459"/>
                    <a:pt x="235" y="459"/>
                  </a:cubicBezTo>
                  <a:cubicBezTo>
                    <a:pt x="213" y="459"/>
                    <a:pt x="191" y="436"/>
                    <a:pt x="168" y="425"/>
                  </a:cubicBezTo>
                  <a:lnTo>
                    <a:pt x="157" y="414"/>
                  </a:lnTo>
                  <a:cubicBezTo>
                    <a:pt x="123" y="403"/>
                    <a:pt x="90" y="358"/>
                    <a:pt x="90" y="324"/>
                  </a:cubicBezTo>
                  <a:cubicBezTo>
                    <a:pt x="90" y="313"/>
                    <a:pt x="68" y="257"/>
                    <a:pt x="45" y="246"/>
                  </a:cubicBezTo>
                  <a:lnTo>
                    <a:pt x="45" y="246"/>
                  </a:lnTo>
                  <a:cubicBezTo>
                    <a:pt x="23" y="246"/>
                    <a:pt x="11" y="235"/>
                    <a:pt x="0" y="224"/>
                  </a:cubicBezTo>
                  <a:cubicBezTo>
                    <a:pt x="0" y="201"/>
                    <a:pt x="0" y="190"/>
                    <a:pt x="23" y="179"/>
                  </a:cubicBezTo>
                  <a:cubicBezTo>
                    <a:pt x="34" y="167"/>
                    <a:pt x="45" y="145"/>
                    <a:pt x="56" y="111"/>
                  </a:cubicBezTo>
                  <a:cubicBezTo>
                    <a:pt x="56" y="111"/>
                    <a:pt x="79" y="0"/>
                    <a:pt x="123" y="0"/>
                  </a:cubicBezTo>
                  <a:lnTo>
                    <a:pt x="135" y="0"/>
                  </a:lnTo>
                  <a:cubicBezTo>
                    <a:pt x="157" y="22"/>
                    <a:pt x="146" y="55"/>
                    <a:pt x="135" y="100"/>
                  </a:cubicBezTo>
                  <a:cubicBezTo>
                    <a:pt x="123" y="100"/>
                    <a:pt x="123" y="111"/>
                    <a:pt x="123" y="111"/>
                  </a:cubicBezTo>
                  <a:cubicBezTo>
                    <a:pt x="112" y="145"/>
                    <a:pt x="112" y="201"/>
                    <a:pt x="123" y="212"/>
                  </a:cubicBezTo>
                  <a:cubicBezTo>
                    <a:pt x="123" y="212"/>
                    <a:pt x="135" y="224"/>
                    <a:pt x="135" y="235"/>
                  </a:cubicBezTo>
                  <a:cubicBezTo>
                    <a:pt x="146" y="246"/>
                    <a:pt x="157" y="268"/>
                    <a:pt x="168" y="280"/>
                  </a:cubicBezTo>
                  <a:cubicBezTo>
                    <a:pt x="191" y="280"/>
                    <a:pt x="191" y="313"/>
                    <a:pt x="191" y="324"/>
                  </a:cubicBezTo>
                  <a:lnTo>
                    <a:pt x="191" y="336"/>
                  </a:lnTo>
                  <a:lnTo>
                    <a:pt x="191" y="336"/>
                  </a:lnTo>
                  <a:cubicBezTo>
                    <a:pt x="224" y="347"/>
                    <a:pt x="235" y="358"/>
                    <a:pt x="258" y="380"/>
                  </a:cubicBezTo>
                  <a:cubicBezTo>
                    <a:pt x="258" y="391"/>
                    <a:pt x="269" y="403"/>
                    <a:pt x="280" y="403"/>
                  </a:cubicBezTo>
                  <a:cubicBezTo>
                    <a:pt x="303" y="414"/>
                    <a:pt x="325" y="436"/>
                    <a:pt x="348" y="448"/>
                  </a:cubicBezTo>
                  <a:cubicBezTo>
                    <a:pt x="348" y="459"/>
                    <a:pt x="359" y="470"/>
                    <a:pt x="370" y="470"/>
                  </a:cubicBezTo>
                  <a:cubicBezTo>
                    <a:pt x="392" y="493"/>
                    <a:pt x="392" y="537"/>
                    <a:pt x="392" y="560"/>
                  </a:cubicBezTo>
                  <a:cubicBezTo>
                    <a:pt x="381" y="571"/>
                    <a:pt x="381" y="582"/>
                    <a:pt x="370" y="582"/>
                  </a:cubicBezTo>
                  <a:close/>
                  <a:moveTo>
                    <a:pt x="179" y="380"/>
                  </a:moveTo>
                  <a:lnTo>
                    <a:pt x="179" y="380"/>
                  </a:lnTo>
                  <a:cubicBezTo>
                    <a:pt x="191" y="380"/>
                    <a:pt x="191" y="391"/>
                    <a:pt x="202" y="391"/>
                  </a:cubicBezTo>
                  <a:cubicBezTo>
                    <a:pt x="202" y="403"/>
                    <a:pt x="213" y="403"/>
                    <a:pt x="224" y="414"/>
                  </a:cubicBezTo>
                  <a:cubicBezTo>
                    <a:pt x="213" y="391"/>
                    <a:pt x="202" y="380"/>
                    <a:pt x="191" y="380"/>
                  </a:cubicBezTo>
                  <a:cubicBezTo>
                    <a:pt x="179" y="380"/>
                    <a:pt x="179" y="380"/>
                    <a:pt x="179" y="380"/>
                  </a:cubicBezTo>
                  <a:close/>
                  <a:moveTo>
                    <a:pt x="123" y="291"/>
                  </a:moveTo>
                  <a:lnTo>
                    <a:pt x="123" y="291"/>
                  </a:lnTo>
                  <a:cubicBezTo>
                    <a:pt x="123" y="302"/>
                    <a:pt x="135" y="324"/>
                    <a:pt x="135" y="324"/>
                  </a:cubicBezTo>
                  <a:cubicBezTo>
                    <a:pt x="135" y="336"/>
                    <a:pt x="146" y="358"/>
                    <a:pt x="157" y="369"/>
                  </a:cubicBezTo>
                  <a:cubicBezTo>
                    <a:pt x="146" y="358"/>
                    <a:pt x="146" y="336"/>
                    <a:pt x="146" y="324"/>
                  </a:cubicBezTo>
                  <a:lnTo>
                    <a:pt x="146" y="313"/>
                  </a:lnTo>
                  <a:cubicBezTo>
                    <a:pt x="135" y="313"/>
                    <a:pt x="135" y="302"/>
                    <a:pt x="123" y="291"/>
                  </a:cubicBezTo>
                  <a:close/>
                  <a:moveTo>
                    <a:pt x="56" y="201"/>
                  </a:moveTo>
                  <a:lnTo>
                    <a:pt x="56" y="201"/>
                  </a:lnTo>
                  <a:cubicBezTo>
                    <a:pt x="68" y="201"/>
                    <a:pt x="68" y="201"/>
                    <a:pt x="79" y="212"/>
                  </a:cubicBezTo>
                  <a:cubicBezTo>
                    <a:pt x="79" y="201"/>
                    <a:pt x="68" y="190"/>
                    <a:pt x="68" y="179"/>
                  </a:cubicBezTo>
                  <a:cubicBezTo>
                    <a:pt x="68" y="190"/>
                    <a:pt x="56" y="201"/>
                    <a:pt x="56" y="201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" name="Freeform 83"/>
            <p:cNvSpPr>
              <a:spLocks noChangeArrowheads="1"/>
            </p:cNvSpPr>
            <p:nvPr/>
          </p:nvSpPr>
          <p:spPr bwMode="auto">
            <a:xfrm>
              <a:off x="3768636" y="3660047"/>
              <a:ext cx="35159" cy="19880"/>
            </a:xfrm>
            <a:custGeom>
              <a:avLst/>
              <a:gdLst>
                <a:gd name="T0" fmla="*/ 78 w 102"/>
                <a:gd name="T1" fmla="*/ 22 h 57"/>
                <a:gd name="T2" fmla="*/ 78 w 102"/>
                <a:gd name="T3" fmla="*/ 22 h 57"/>
                <a:gd name="T4" fmla="*/ 11 w 102"/>
                <a:gd name="T5" fmla="*/ 0 h 57"/>
                <a:gd name="T6" fmla="*/ 45 w 102"/>
                <a:gd name="T7" fmla="*/ 34 h 57"/>
                <a:gd name="T8" fmla="*/ 78 w 102"/>
                <a:gd name="T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57">
                  <a:moveTo>
                    <a:pt x="78" y="22"/>
                  </a:moveTo>
                  <a:lnTo>
                    <a:pt x="78" y="22"/>
                  </a:lnTo>
                  <a:cubicBezTo>
                    <a:pt x="67" y="11"/>
                    <a:pt x="22" y="0"/>
                    <a:pt x="11" y="0"/>
                  </a:cubicBezTo>
                  <a:cubicBezTo>
                    <a:pt x="0" y="11"/>
                    <a:pt x="22" y="11"/>
                    <a:pt x="45" y="34"/>
                  </a:cubicBezTo>
                  <a:cubicBezTo>
                    <a:pt x="67" y="56"/>
                    <a:pt x="101" y="45"/>
                    <a:pt x="78" y="2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" name="Freeform 84"/>
            <p:cNvSpPr>
              <a:spLocks noChangeArrowheads="1"/>
            </p:cNvSpPr>
            <p:nvPr/>
          </p:nvSpPr>
          <p:spPr bwMode="auto">
            <a:xfrm>
              <a:off x="3765579" y="3652401"/>
              <a:ext cx="42802" cy="30585"/>
            </a:xfrm>
            <a:custGeom>
              <a:avLst/>
              <a:gdLst>
                <a:gd name="T0" fmla="*/ 78 w 124"/>
                <a:gd name="T1" fmla="*/ 89 h 90"/>
                <a:gd name="T2" fmla="*/ 78 w 124"/>
                <a:gd name="T3" fmla="*/ 89 h 90"/>
                <a:gd name="T4" fmla="*/ 78 w 124"/>
                <a:gd name="T5" fmla="*/ 89 h 90"/>
                <a:gd name="T6" fmla="*/ 44 w 124"/>
                <a:gd name="T7" fmla="*/ 78 h 90"/>
                <a:gd name="T8" fmla="*/ 22 w 124"/>
                <a:gd name="T9" fmla="*/ 56 h 90"/>
                <a:gd name="T10" fmla="*/ 0 w 124"/>
                <a:gd name="T11" fmla="*/ 33 h 90"/>
                <a:gd name="T12" fmla="*/ 11 w 124"/>
                <a:gd name="T13" fmla="*/ 11 h 90"/>
                <a:gd name="T14" fmla="*/ 33 w 124"/>
                <a:gd name="T15" fmla="*/ 0 h 90"/>
                <a:gd name="T16" fmla="*/ 100 w 124"/>
                <a:gd name="T17" fmla="*/ 22 h 90"/>
                <a:gd name="T18" fmla="*/ 112 w 124"/>
                <a:gd name="T19" fmla="*/ 67 h 90"/>
                <a:gd name="T20" fmla="*/ 78 w 124"/>
                <a:gd name="T21" fmla="*/ 8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90">
                  <a:moveTo>
                    <a:pt x="78" y="89"/>
                  </a:moveTo>
                  <a:lnTo>
                    <a:pt x="78" y="89"/>
                  </a:lnTo>
                  <a:lnTo>
                    <a:pt x="78" y="89"/>
                  </a:lnTo>
                  <a:cubicBezTo>
                    <a:pt x="67" y="89"/>
                    <a:pt x="56" y="89"/>
                    <a:pt x="44" y="78"/>
                  </a:cubicBezTo>
                  <a:cubicBezTo>
                    <a:pt x="33" y="67"/>
                    <a:pt x="22" y="67"/>
                    <a:pt x="22" y="56"/>
                  </a:cubicBezTo>
                  <a:cubicBezTo>
                    <a:pt x="11" y="56"/>
                    <a:pt x="0" y="44"/>
                    <a:pt x="0" y="33"/>
                  </a:cubicBezTo>
                  <a:cubicBezTo>
                    <a:pt x="0" y="33"/>
                    <a:pt x="0" y="22"/>
                    <a:pt x="11" y="11"/>
                  </a:cubicBezTo>
                  <a:cubicBezTo>
                    <a:pt x="11" y="0"/>
                    <a:pt x="22" y="0"/>
                    <a:pt x="33" y="0"/>
                  </a:cubicBezTo>
                  <a:cubicBezTo>
                    <a:pt x="56" y="0"/>
                    <a:pt x="89" y="11"/>
                    <a:pt x="100" y="22"/>
                  </a:cubicBezTo>
                  <a:cubicBezTo>
                    <a:pt x="123" y="44"/>
                    <a:pt x="112" y="67"/>
                    <a:pt x="112" y="67"/>
                  </a:cubicBezTo>
                  <a:cubicBezTo>
                    <a:pt x="112" y="78"/>
                    <a:pt x="89" y="89"/>
                    <a:pt x="78" y="8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" name="Freeform 85"/>
            <p:cNvSpPr>
              <a:spLocks noChangeArrowheads="1"/>
            </p:cNvSpPr>
            <p:nvPr/>
          </p:nvSpPr>
          <p:spPr bwMode="auto">
            <a:xfrm>
              <a:off x="3982647" y="3493359"/>
              <a:ext cx="47389" cy="67287"/>
            </a:xfrm>
            <a:custGeom>
              <a:avLst/>
              <a:gdLst>
                <a:gd name="T0" fmla="*/ 79 w 136"/>
                <a:gd name="T1" fmla="*/ 56 h 192"/>
                <a:gd name="T2" fmla="*/ 79 w 136"/>
                <a:gd name="T3" fmla="*/ 56 h 192"/>
                <a:gd name="T4" fmla="*/ 34 w 136"/>
                <a:gd name="T5" fmla="*/ 22 h 192"/>
                <a:gd name="T6" fmla="*/ 34 w 136"/>
                <a:gd name="T7" fmla="*/ 56 h 192"/>
                <a:gd name="T8" fmla="*/ 90 w 136"/>
                <a:gd name="T9" fmla="*/ 157 h 192"/>
                <a:gd name="T10" fmla="*/ 124 w 136"/>
                <a:gd name="T11" fmla="*/ 134 h 192"/>
                <a:gd name="T12" fmla="*/ 79 w 136"/>
                <a:gd name="T13" fmla="*/ 5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192">
                  <a:moveTo>
                    <a:pt x="79" y="56"/>
                  </a:moveTo>
                  <a:lnTo>
                    <a:pt x="79" y="56"/>
                  </a:lnTo>
                  <a:cubicBezTo>
                    <a:pt x="45" y="56"/>
                    <a:pt x="45" y="34"/>
                    <a:pt x="34" y="22"/>
                  </a:cubicBezTo>
                  <a:cubicBezTo>
                    <a:pt x="23" y="0"/>
                    <a:pt x="0" y="34"/>
                    <a:pt x="34" y="56"/>
                  </a:cubicBezTo>
                  <a:cubicBezTo>
                    <a:pt x="56" y="90"/>
                    <a:pt x="90" y="134"/>
                    <a:pt x="90" y="157"/>
                  </a:cubicBezTo>
                  <a:cubicBezTo>
                    <a:pt x="90" y="179"/>
                    <a:pt x="135" y="191"/>
                    <a:pt x="124" y="134"/>
                  </a:cubicBezTo>
                  <a:cubicBezTo>
                    <a:pt x="124" y="78"/>
                    <a:pt x="90" y="67"/>
                    <a:pt x="79" y="5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" name="Freeform 86"/>
            <p:cNvSpPr>
              <a:spLocks noChangeArrowheads="1"/>
            </p:cNvSpPr>
            <p:nvPr/>
          </p:nvSpPr>
          <p:spPr bwMode="auto">
            <a:xfrm>
              <a:off x="3978061" y="3490301"/>
              <a:ext cx="55031" cy="74933"/>
            </a:xfrm>
            <a:custGeom>
              <a:avLst/>
              <a:gdLst>
                <a:gd name="T0" fmla="*/ 123 w 158"/>
                <a:gd name="T1" fmla="*/ 213 h 214"/>
                <a:gd name="T2" fmla="*/ 123 w 158"/>
                <a:gd name="T3" fmla="*/ 213 h 214"/>
                <a:gd name="T4" fmla="*/ 123 w 158"/>
                <a:gd name="T5" fmla="*/ 213 h 214"/>
                <a:gd name="T6" fmla="*/ 79 w 158"/>
                <a:gd name="T7" fmla="*/ 168 h 214"/>
                <a:gd name="T8" fmla="*/ 22 w 158"/>
                <a:gd name="T9" fmla="*/ 89 h 214"/>
                <a:gd name="T10" fmla="*/ 11 w 158"/>
                <a:gd name="T11" fmla="*/ 22 h 214"/>
                <a:gd name="T12" fmla="*/ 34 w 158"/>
                <a:gd name="T13" fmla="*/ 0 h 214"/>
                <a:gd name="T14" fmla="*/ 67 w 158"/>
                <a:gd name="T15" fmla="*/ 22 h 214"/>
                <a:gd name="T16" fmla="*/ 67 w 158"/>
                <a:gd name="T17" fmla="*/ 33 h 214"/>
                <a:gd name="T18" fmla="*/ 90 w 158"/>
                <a:gd name="T19" fmla="*/ 45 h 214"/>
                <a:gd name="T20" fmla="*/ 157 w 158"/>
                <a:gd name="T21" fmla="*/ 145 h 214"/>
                <a:gd name="T22" fmla="*/ 146 w 158"/>
                <a:gd name="T23" fmla="*/ 190 h 214"/>
                <a:gd name="T24" fmla="*/ 123 w 158"/>
                <a:gd name="T25" fmla="*/ 213 h 214"/>
                <a:gd name="T26" fmla="*/ 101 w 158"/>
                <a:gd name="T27" fmla="*/ 101 h 214"/>
                <a:gd name="T28" fmla="*/ 101 w 158"/>
                <a:gd name="T29" fmla="*/ 101 h 214"/>
                <a:gd name="T30" fmla="*/ 101 w 158"/>
                <a:gd name="T31" fmla="*/ 123 h 214"/>
                <a:gd name="T32" fmla="*/ 101 w 158"/>
                <a:gd name="T33" fmla="*/ 10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4">
                  <a:moveTo>
                    <a:pt x="123" y="213"/>
                  </a:moveTo>
                  <a:lnTo>
                    <a:pt x="123" y="213"/>
                  </a:lnTo>
                  <a:lnTo>
                    <a:pt x="123" y="213"/>
                  </a:lnTo>
                  <a:cubicBezTo>
                    <a:pt x="101" y="213"/>
                    <a:pt x="79" y="190"/>
                    <a:pt x="79" y="168"/>
                  </a:cubicBezTo>
                  <a:cubicBezTo>
                    <a:pt x="79" y="145"/>
                    <a:pt x="56" y="112"/>
                    <a:pt x="22" y="89"/>
                  </a:cubicBezTo>
                  <a:cubicBezTo>
                    <a:pt x="0" y="67"/>
                    <a:pt x="0" y="45"/>
                    <a:pt x="11" y="22"/>
                  </a:cubicBezTo>
                  <a:cubicBezTo>
                    <a:pt x="11" y="11"/>
                    <a:pt x="22" y="0"/>
                    <a:pt x="34" y="0"/>
                  </a:cubicBezTo>
                  <a:cubicBezTo>
                    <a:pt x="45" y="0"/>
                    <a:pt x="56" y="11"/>
                    <a:pt x="67" y="22"/>
                  </a:cubicBezTo>
                  <a:lnTo>
                    <a:pt x="67" y="33"/>
                  </a:lnTo>
                  <a:cubicBezTo>
                    <a:pt x="79" y="45"/>
                    <a:pt x="79" y="45"/>
                    <a:pt x="90" y="45"/>
                  </a:cubicBezTo>
                  <a:cubicBezTo>
                    <a:pt x="112" y="56"/>
                    <a:pt x="146" y="78"/>
                    <a:pt x="157" y="145"/>
                  </a:cubicBezTo>
                  <a:cubicBezTo>
                    <a:pt x="157" y="168"/>
                    <a:pt x="157" y="179"/>
                    <a:pt x="146" y="190"/>
                  </a:cubicBezTo>
                  <a:cubicBezTo>
                    <a:pt x="135" y="202"/>
                    <a:pt x="135" y="213"/>
                    <a:pt x="123" y="213"/>
                  </a:cubicBezTo>
                  <a:close/>
                  <a:moveTo>
                    <a:pt x="101" y="101"/>
                  </a:moveTo>
                  <a:lnTo>
                    <a:pt x="101" y="101"/>
                  </a:lnTo>
                  <a:cubicBezTo>
                    <a:pt x="101" y="112"/>
                    <a:pt x="101" y="112"/>
                    <a:pt x="101" y="123"/>
                  </a:cubicBezTo>
                  <a:cubicBezTo>
                    <a:pt x="101" y="112"/>
                    <a:pt x="101" y="101"/>
                    <a:pt x="101" y="101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" name="Freeform 87"/>
            <p:cNvSpPr>
              <a:spLocks noChangeArrowheads="1"/>
            </p:cNvSpPr>
            <p:nvPr/>
          </p:nvSpPr>
          <p:spPr bwMode="auto">
            <a:xfrm>
              <a:off x="3982647" y="3445953"/>
              <a:ext cx="24458" cy="24468"/>
            </a:xfrm>
            <a:custGeom>
              <a:avLst/>
              <a:gdLst>
                <a:gd name="T0" fmla="*/ 23 w 69"/>
                <a:gd name="T1" fmla="*/ 68 h 69"/>
                <a:gd name="T2" fmla="*/ 23 w 69"/>
                <a:gd name="T3" fmla="*/ 68 h 69"/>
                <a:gd name="T4" fmla="*/ 11 w 69"/>
                <a:gd name="T5" fmla="*/ 34 h 69"/>
                <a:gd name="T6" fmla="*/ 23 w 69"/>
                <a:gd name="T7" fmla="*/ 0 h 69"/>
                <a:gd name="T8" fmla="*/ 56 w 69"/>
                <a:gd name="T9" fmla="*/ 34 h 69"/>
                <a:gd name="T10" fmla="*/ 23 w 69"/>
                <a:gd name="T11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69">
                  <a:moveTo>
                    <a:pt x="23" y="68"/>
                  </a:moveTo>
                  <a:lnTo>
                    <a:pt x="23" y="68"/>
                  </a:lnTo>
                  <a:cubicBezTo>
                    <a:pt x="11" y="68"/>
                    <a:pt x="23" y="45"/>
                    <a:pt x="11" y="34"/>
                  </a:cubicBezTo>
                  <a:cubicBezTo>
                    <a:pt x="11" y="23"/>
                    <a:pt x="0" y="0"/>
                    <a:pt x="23" y="0"/>
                  </a:cubicBezTo>
                  <a:cubicBezTo>
                    <a:pt x="34" y="0"/>
                    <a:pt x="45" y="23"/>
                    <a:pt x="56" y="34"/>
                  </a:cubicBezTo>
                  <a:cubicBezTo>
                    <a:pt x="68" y="45"/>
                    <a:pt x="45" y="68"/>
                    <a:pt x="23" y="6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" name="Freeform 88"/>
            <p:cNvSpPr>
              <a:spLocks noChangeArrowheads="1"/>
            </p:cNvSpPr>
            <p:nvPr/>
          </p:nvSpPr>
          <p:spPr bwMode="auto">
            <a:xfrm>
              <a:off x="3975004" y="3438307"/>
              <a:ext cx="35158" cy="39760"/>
            </a:xfrm>
            <a:custGeom>
              <a:avLst/>
              <a:gdLst>
                <a:gd name="T0" fmla="*/ 45 w 102"/>
                <a:gd name="T1" fmla="*/ 112 h 113"/>
                <a:gd name="T2" fmla="*/ 45 w 102"/>
                <a:gd name="T3" fmla="*/ 112 h 113"/>
                <a:gd name="T4" fmla="*/ 22 w 102"/>
                <a:gd name="T5" fmla="*/ 101 h 113"/>
                <a:gd name="T6" fmla="*/ 11 w 102"/>
                <a:gd name="T7" fmla="*/ 67 h 113"/>
                <a:gd name="T8" fmla="*/ 11 w 102"/>
                <a:gd name="T9" fmla="*/ 67 h 113"/>
                <a:gd name="T10" fmla="*/ 11 w 102"/>
                <a:gd name="T11" fmla="*/ 11 h 113"/>
                <a:gd name="T12" fmla="*/ 45 w 102"/>
                <a:gd name="T13" fmla="*/ 0 h 113"/>
                <a:gd name="T14" fmla="*/ 90 w 102"/>
                <a:gd name="T15" fmla="*/ 34 h 113"/>
                <a:gd name="T16" fmla="*/ 90 w 102"/>
                <a:gd name="T17" fmla="*/ 34 h 113"/>
                <a:gd name="T18" fmla="*/ 101 w 102"/>
                <a:gd name="T19" fmla="*/ 79 h 113"/>
                <a:gd name="T20" fmla="*/ 56 w 102"/>
                <a:gd name="T21" fmla="*/ 112 h 113"/>
                <a:gd name="T22" fmla="*/ 45 w 102"/>
                <a:gd name="T23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2" h="113">
                  <a:moveTo>
                    <a:pt x="45" y="112"/>
                  </a:moveTo>
                  <a:lnTo>
                    <a:pt x="45" y="112"/>
                  </a:lnTo>
                  <a:cubicBezTo>
                    <a:pt x="33" y="112"/>
                    <a:pt x="33" y="112"/>
                    <a:pt x="22" y="101"/>
                  </a:cubicBezTo>
                  <a:cubicBezTo>
                    <a:pt x="11" y="90"/>
                    <a:pt x="11" y="79"/>
                    <a:pt x="11" y="67"/>
                  </a:cubicBezTo>
                  <a:lnTo>
                    <a:pt x="11" y="67"/>
                  </a:lnTo>
                  <a:cubicBezTo>
                    <a:pt x="11" y="45"/>
                    <a:pt x="0" y="22"/>
                    <a:pt x="11" y="11"/>
                  </a:cubicBezTo>
                  <a:cubicBezTo>
                    <a:pt x="22" y="11"/>
                    <a:pt x="22" y="0"/>
                    <a:pt x="45" y="0"/>
                  </a:cubicBezTo>
                  <a:cubicBezTo>
                    <a:pt x="67" y="0"/>
                    <a:pt x="78" y="22"/>
                    <a:pt x="90" y="34"/>
                  </a:cubicBezTo>
                  <a:lnTo>
                    <a:pt x="90" y="34"/>
                  </a:lnTo>
                  <a:cubicBezTo>
                    <a:pt x="101" y="45"/>
                    <a:pt x="101" y="56"/>
                    <a:pt x="101" y="79"/>
                  </a:cubicBezTo>
                  <a:cubicBezTo>
                    <a:pt x="90" y="90"/>
                    <a:pt x="78" y="112"/>
                    <a:pt x="56" y="112"/>
                  </a:cubicBezTo>
                  <a:cubicBezTo>
                    <a:pt x="45" y="112"/>
                    <a:pt x="45" y="112"/>
                    <a:pt x="45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" name="Freeform 89"/>
            <p:cNvSpPr>
              <a:spLocks noChangeArrowheads="1"/>
            </p:cNvSpPr>
            <p:nvPr/>
          </p:nvSpPr>
          <p:spPr bwMode="auto">
            <a:xfrm>
              <a:off x="3909272" y="3337377"/>
              <a:ext cx="32102" cy="22939"/>
            </a:xfrm>
            <a:custGeom>
              <a:avLst/>
              <a:gdLst>
                <a:gd name="T0" fmla="*/ 79 w 91"/>
                <a:gd name="T1" fmla="*/ 56 h 68"/>
                <a:gd name="T2" fmla="*/ 79 w 91"/>
                <a:gd name="T3" fmla="*/ 56 h 68"/>
                <a:gd name="T4" fmla="*/ 45 w 91"/>
                <a:gd name="T5" fmla="*/ 22 h 68"/>
                <a:gd name="T6" fmla="*/ 23 w 91"/>
                <a:gd name="T7" fmla="*/ 33 h 68"/>
                <a:gd name="T8" fmla="*/ 79 w 91"/>
                <a:gd name="T9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68">
                  <a:moveTo>
                    <a:pt x="79" y="56"/>
                  </a:moveTo>
                  <a:lnTo>
                    <a:pt x="79" y="56"/>
                  </a:lnTo>
                  <a:cubicBezTo>
                    <a:pt x="90" y="44"/>
                    <a:pt x="68" y="33"/>
                    <a:pt x="45" y="22"/>
                  </a:cubicBezTo>
                  <a:cubicBezTo>
                    <a:pt x="34" y="0"/>
                    <a:pt x="0" y="22"/>
                    <a:pt x="23" y="33"/>
                  </a:cubicBezTo>
                  <a:cubicBezTo>
                    <a:pt x="34" y="56"/>
                    <a:pt x="68" y="67"/>
                    <a:pt x="79" y="5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" name="Freeform 90"/>
            <p:cNvSpPr>
              <a:spLocks noChangeArrowheads="1"/>
            </p:cNvSpPr>
            <p:nvPr/>
          </p:nvSpPr>
          <p:spPr bwMode="auto">
            <a:xfrm>
              <a:off x="3904686" y="3334318"/>
              <a:ext cx="39745" cy="35173"/>
            </a:xfrm>
            <a:custGeom>
              <a:avLst/>
              <a:gdLst>
                <a:gd name="T0" fmla="*/ 79 w 113"/>
                <a:gd name="T1" fmla="*/ 101 h 102"/>
                <a:gd name="T2" fmla="*/ 79 w 113"/>
                <a:gd name="T3" fmla="*/ 101 h 102"/>
                <a:gd name="T4" fmla="*/ 79 w 113"/>
                <a:gd name="T5" fmla="*/ 101 h 102"/>
                <a:gd name="T6" fmla="*/ 11 w 113"/>
                <a:gd name="T7" fmla="*/ 68 h 102"/>
                <a:gd name="T8" fmla="*/ 11 w 113"/>
                <a:gd name="T9" fmla="*/ 23 h 102"/>
                <a:gd name="T10" fmla="*/ 45 w 113"/>
                <a:gd name="T11" fmla="*/ 0 h 102"/>
                <a:gd name="T12" fmla="*/ 79 w 113"/>
                <a:gd name="T13" fmla="*/ 12 h 102"/>
                <a:gd name="T14" fmla="*/ 112 w 113"/>
                <a:gd name="T15" fmla="*/ 56 h 102"/>
                <a:gd name="T16" fmla="*/ 101 w 113"/>
                <a:gd name="T17" fmla="*/ 90 h 102"/>
                <a:gd name="T18" fmla="*/ 79 w 113"/>
                <a:gd name="T19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02">
                  <a:moveTo>
                    <a:pt x="79" y="101"/>
                  </a:moveTo>
                  <a:lnTo>
                    <a:pt x="79" y="101"/>
                  </a:lnTo>
                  <a:lnTo>
                    <a:pt x="79" y="101"/>
                  </a:lnTo>
                  <a:cubicBezTo>
                    <a:pt x="56" y="101"/>
                    <a:pt x="23" y="79"/>
                    <a:pt x="11" y="68"/>
                  </a:cubicBezTo>
                  <a:cubicBezTo>
                    <a:pt x="0" y="56"/>
                    <a:pt x="0" y="34"/>
                    <a:pt x="11" y="23"/>
                  </a:cubicBezTo>
                  <a:cubicBezTo>
                    <a:pt x="11" y="12"/>
                    <a:pt x="34" y="0"/>
                    <a:pt x="45" y="0"/>
                  </a:cubicBezTo>
                  <a:cubicBezTo>
                    <a:pt x="56" y="0"/>
                    <a:pt x="67" y="0"/>
                    <a:pt x="79" y="12"/>
                  </a:cubicBezTo>
                  <a:cubicBezTo>
                    <a:pt x="90" y="23"/>
                    <a:pt x="112" y="34"/>
                    <a:pt x="112" y="56"/>
                  </a:cubicBezTo>
                  <a:cubicBezTo>
                    <a:pt x="112" y="68"/>
                    <a:pt x="112" y="79"/>
                    <a:pt x="101" y="90"/>
                  </a:cubicBezTo>
                  <a:cubicBezTo>
                    <a:pt x="101" y="90"/>
                    <a:pt x="90" y="101"/>
                    <a:pt x="79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" name="Freeform 91"/>
            <p:cNvSpPr>
              <a:spLocks noChangeArrowheads="1"/>
            </p:cNvSpPr>
            <p:nvPr/>
          </p:nvSpPr>
          <p:spPr bwMode="auto">
            <a:xfrm>
              <a:off x="3962775" y="3345023"/>
              <a:ext cx="22929" cy="32114"/>
            </a:xfrm>
            <a:custGeom>
              <a:avLst/>
              <a:gdLst>
                <a:gd name="T0" fmla="*/ 45 w 68"/>
                <a:gd name="T1" fmla="*/ 90 h 91"/>
                <a:gd name="T2" fmla="*/ 45 w 68"/>
                <a:gd name="T3" fmla="*/ 90 h 91"/>
                <a:gd name="T4" fmla="*/ 11 w 68"/>
                <a:gd name="T5" fmla="*/ 67 h 91"/>
                <a:gd name="T6" fmla="*/ 34 w 68"/>
                <a:gd name="T7" fmla="*/ 22 h 91"/>
                <a:gd name="T8" fmla="*/ 67 w 68"/>
                <a:gd name="T9" fmla="*/ 56 h 91"/>
                <a:gd name="T10" fmla="*/ 45 w 68"/>
                <a:gd name="T11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91">
                  <a:moveTo>
                    <a:pt x="45" y="90"/>
                  </a:moveTo>
                  <a:lnTo>
                    <a:pt x="45" y="90"/>
                  </a:lnTo>
                  <a:cubicBezTo>
                    <a:pt x="34" y="79"/>
                    <a:pt x="34" y="56"/>
                    <a:pt x="11" y="67"/>
                  </a:cubicBezTo>
                  <a:cubicBezTo>
                    <a:pt x="0" y="67"/>
                    <a:pt x="34" y="45"/>
                    <a:pt x="34" y="22"/>
                  </a:cubicBezTo>
                  <a:cubicBezTo>
                    <a:pt x="45" y="0"/>
                    <a:pt x="67" y="45"/>
                    <a:pt x="67" y="56"/>
                  </a:cubicBezTo>
                  <a:cubicBezTo>
                    <a:pt x="67" y="79"/>
                    <a:pt x="56" y="90"/>
                    <a:pt x="45" y="9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" name="Freeform 92"/>
            <p:cNvSpPr>
              <a:spLocks noChangeArrowheads="1"/>
            </p:cNvSpPr>
            <p:nvPr/>
          </p:nvSpPr>
          <p:spPr bwMode="auto">
            <a:xfrm>
              <a:off x="3955131" y="3345023"/>
              <a:ext cx="39745" cy="39760"/>
            </a:xfrm>
            <a:custGeom>
              <a:avLst/>
              <a:gdLst>
                <a:gd name="T0" fmla="*/ 67 w 113"/>
                <a:gd name="T1" fmla="*/ 112 h 113"/>
                <a:gd name="T2" fmla="*/ 67 w 113"/>
                <a:gd name="T3" fmla="*/ 112 h 113"/>
                <a:gd name="T4" fmla="*/ 56 w 113"/>
                <a:gd name="T5" fmla="*/ 101 h 113"/>
                <a:gd name="T6" fmla="*/ 33 w 113"/>
                <a:gd name="T7" fmla="*/ 90 h 113"/>
                <a:gd name="T8" fmla="*/ 33 w 113"/>
                <a:gd name="T9" fmla="*/ 90 h 113"/>
                <a:gd name="T10" fmla="*/ 11 w 113"/>
                <a:gd name="T11" fmla="*/ 79 h 113"/>
                <a:gd name="T12" fmla="*/ 22 w 113"/>
                <a:gd name="T13" fmla="*/ 34 h 113"/>
                <a:gd name="T14" fmla="*/ 33 w 113"/>
                <a:gd name="T15" fmla="*/ 11 h 113"/>
                <a:gd name="T16" fmla="*/ 67 w 113"/>
                <a:gd name="T17" fmla="*/ 0 h 113"/>
                <a:gd name="T18" fmla="*/ 89 w 113"/>
                <a:gd name="T19" fmla="*/ 11 h 113"/>
                <a:gd name="T20" fmla="*/ 112 w 113"/>
                <a:gd name="T21" fmla="*/ 56 h 113"/>
                <a:gd name="T22" fmla="*/ 67 w 113"/>
                <a:gd name="T23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3" h="113">
                  <a:moveTo>
                    <a:pt x="67" y="112"/>
                  </a:moveTo>
                  <a:lnTo>
                    <a:pt x="67" y="112"/>
                  </a:lnTo>
                  <a:cubicBezTo>
                    <a:pt x="67" y="112"/>
                    <a:pt x="56" y="112"/>
                    <a:pt x="56" y="101"/>
                  </a:cubicBezTo>
                  <a:cubicBezTo>
                    <a:pt x="44" y="101"/>
                    <a:pt x="44" y="90"/>
                    <a:pt x="33" y="90"/>
                  </a:cubicBezTo>
                  <a:lnTo>
                    <a:pt x="33" y="90"/>
                  </a:lnTo>
                  <a:cubicBezTo>
                    <a:pt x="22" y="90"/>
                    <a:pt x="11" y="79"/>
                    <a:pt x="11" y="79"/>
                  </a:cubicBezTo>
                  <a:cubicBezTo>
                    <a:pt x="0" y="56"/>
                    <a:pt x="11" y="45"/>
                    <a:pt x="22" y="34"/>
                  </a:cubicBezTo>
                  <a:cubicBezTo>
                    <a:pt x="33" y="34"/>
                    <a:pt x="33" y="22"/>
                    <a:pt x="33" y="11"/>
                  </a:cubicBezTo>
                  <a:cubicBezTo>
                    <a:pt x="44" y="0"/>
                    <a:pt x="56" y="0"/>
                    <a:pt x="67" y="0"/>
                  </a:cubicBezTo>
                  <a:cubicBezTo>
                    <a:pt x="67" y="0"/>
                    <a:pt x="78" y="0"/>
                    <a:pt x="89" y="11"/>
                  </a:cubicBezTo>
                  <a:cubicBezTo>
                    <a:pt x="101" y="22"/>
                    <a:pt x="112" y="45"/>
                    <a:pt x="112" y="56"/>
                  </a:cubicBezTo>
                  <a:cubicBezTo>
                    <a:pt x="101" y="90"/>
                    <a:pt x="89" y="112"/>
                    <a:pt x="67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" name="Freeform 93"/>
            <p:cNvSpPr>
              <a:spLocks noChangeArrowheads="1"/>
            </p:cNvSpPr>
            <p:nvPr/>
          </p:nvSpPr>
          <p:spPr bwMode="auto">
            <a:xfrm>
              <a:off x="3897043" y="3259386"/>
              <a:ext cx="22930" cy="50465"/>
            </a:xfrm>
            <a:custGeom>
              <a:avLst/>
              <a:gdLst>
                <a:gd name="T0" fmla="*/ 22 w 68"/>
                <a:gd name="T1" fmla="*/ 146 h 147"/>
                <a:gd name="T2" fmla="*/ 22 w 68"/>
                <a:gd name="T3" fmla="*/ 146 h 147"/>
                <a:gd name="T4" fmla="*/ 11 w 68"/>
                <a:gd name="T5" fmla="*/ 102 h 147"/>
                <a:gd name="T6" fmla="*/ 33 w 68"/>
                <a:gd name="T7" fmla="*/ 12 h 147"/>
                <a:gd name="T8" fmla="*/ 67 w 68"/>
                <a:gd name="T9" fmla="*/ 45 h 147"/>
                <a:gd name="T10" fmla="*/ 22 w 68"/>
                <a:gd name="T11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147">
                  <a:moveTo>
                    <a:pt x="22" y="146"/>
                  </a:moveTo>
                  <a:lnTo>
                    <a:pt x="22" y="146"/>
                  </a:lnTo>
                  <a:cubicBezTo>
                    <a:pt x="11" y="146"/>
                    <a:pt x="0" y="135"/>
                    <a:pt x="11" y="102"/>
                  </a:cubicBezTo>
                  <a:cubicBezTo>
                    <a:pt x="22" y="68"/>
                    <a:pt x="33" y="34"/>
                    <a:pt x="33" y="12"/>
                  </a:cubicBezTo>
                  <a:cubicBezTo>
                    <a:pt x="33" y="0"/>
                    <a:pt x="67" y="12"/>
                    <a:pt x="67" y="45"/>
                  </a:cubicBezTo>
                  <a:cubicBezTo>
                    <a:pt x="67" y="90"/>
                    <a:pt x="56" y="146"/>
                    <a:pt x="22" y="14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" name="Freeform 94"/>
            <p:cNvSpPr>
              <a:spLocks noChangeArrowheads="1"/>
            </p:cNvSpPr>
            <p:nvPr/>
          </p:nvSpPr>
          <p:spPr bwMode="auto">
            <a:xfrm>
              <a:off x="3889400" y="3256327"/>
              <a:ext cx="39745" cy="62698"/>
            </a:xfrm>
            <a:custGeom>
              <a:avLst/>
              <a:gdLst>
                <a:gd name="T0" fmla="*/ 45 w 113"/>
                <a:gd name="T1" fmla="*/ 180 h 181"/>
                <a:gd name="T2" fmla="*/ 45 w 113"/>
                <a:gd name="T3" fmla="*/ 180 h 181"/>
                <a:gd name="T4" fmla="*/ 11 w 113"/>
                <a:gd name="T5" fmla="*/ 169 h 181"/>
                <a:gd name="T6" fmla="*/ 11 w 113"/>
                <a:gd name="T7" fmla="*/ 113 h 181"/>
                <a:gd name="T8" fmla="*/ 23 w 113"/>
                <a:gd name="T9" fmla="*/ 56 h 181"/>
                <a:gd name="T10" fmla="*/ 34 w 113"/>
                <a:gd name="T11" fmla="*/ 23 h 181"/>
                <a:gd name="T12" fmla="*/ 68 w 113"/>
                <a:gd name="T13" fmla="*/ 0 h 181"/>
                <a:gd name="T14" fmla="*/ 112 w 113"/>
                <a:gd name="T15" fmla="*/ 56 h 181"/>
                <a:gd name="T16" fmla="*/ 56 w 113"/>
                <a:gd name="T17" fmla="*/ 180 h 181"/>
                <a:gd name="T18" fmla="*/ 45 w 113"/>
                <a:gd name="T19" fmla="*/ 180 h 181"/>
                <a:gd name="T20" fmla="*/ 68 w 113"/>
                <a:gd name="T21" fmla="*/ 56 h 181"/>
                <a:gd name="T22" fmla="*/ 68 w 113"/>
                <a:gd name="T23" fmla="*/ 56 h 181"/>
                <a:gd name="T24" fmla="*/ 68 w 113"/>
                <a:gd name="T25" fmla="*/ 79 h 181"/>
                <a:gd name="T26" fmla="*/ 56 w 113"/>
                <a:gd name="T27" fmla="*/ 124 h 181"/>
                <a:gd name="T28" fmla="*/ 45 w 113"/>
                <a:gd name="T29" fmla="*/ 135 h 181"/>
                <a:gd name="T30" fmla="*/ 68 w 113"/>
                <a:gd name="T31" fmla="*/ 5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81">
                  <a:moveTo>
                    <a:pt x="45" y="180"/>
                  </a:moveTo>
                  <a:lnTo>
                    <a:pt x="45" y="180"/>
                  </a:lnTo>
                  <a:cubicBezTo>
                    <a:pt x="34" y="180"/>
                    <a:pt x="23" y="169"/>
                    <a:pt x="11" y="169"/>
                  </a:cubicBezTo>
                  <a:cubicBezTo>
                    <a:pt x="0" y="146"/>
                    <a:pt x="0" y="124"/>
                    <a:pt x="11" y="113"/>
                  </a:cubicBezTo>
                  <a:cubicBezTo>
                    <a:pt x="11" y="90"/>
                    <a:pt x="23" y="79"/>
                    <a:pt x="23" y="56"/>
                  </a:cubicBezTo>
                  <a:cubicBezTo>
                    <a:pt x="34" y="45"/>
                    <a:pt x="34" y="34"/>
                    <a:pt x="34" y="23"/>
                  </a:cubicBezTo>
                  <a:cubicBezTo>
                    <a:pt x="34" y="11"/>
                    <a:pt x="56" y="0"/>
                    <a:pt x="68" y="0"/>
                  </a:cubicBezTo>
                  <a:cubicBezTo>
                    <a:pt x="90" y="0"/>
                    <a:pt x="112" y="23"/>
                    <a:pt x="112" y="56"/>
                  </a:cubicBezTo>
                  <a:cubicBezTo>
                    <a:pt x="112" y="113"/>
                    <a:pt x="101" y="180"/>
                    <a:pt x="56" y="180"/>
                  </a:cubicBezTo>
                  <a:cubicBezTo>
                    <a:pt x="45" y="180"/>
                    <a:pt x="45" y="180"/>
                    <a:pt x="45" y="180"/>
                  </a:cubicBezTo>
                  <a:close/>
                  <a:moveTo>
                    <a:pt x="68" y="56"/>
                  </a:moveTo>
                  <a:lnTo>
                    <a:pt x="68" y="56"/>
                  </a:lnTo>
                  <a:cubicBezTo>
                    <a:pt x="68" y="68"/>
                    <a:pt x="68" y="68"/>
                    <a:pt x="68" y="79"/>
                  </a:cubicBezTo>
                  <a:cubicBezTo>
                    <a:pt x="68" y="90"/>
                    <a:pt x="56" y="101"/>
                    <a:pt x="56" y="124"/>
                  </a:cubicBezTo>
                  <a:cubicBezTo>
                    <a:pt x="45" y="124"/>
                    <a:pt x="45" y="135"/>
                    <a:pt x="45" y="135"/>
                  </a:cubicBezTo>
                  <a:cubicBezTo>
                    <a:pt x="56" y="135"/>
                    <a:pt x="68" y="101"/>
                    <a:pt x="68" y="56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" name="Freeform 95"/>
            <p:cNvSpPr>
              <a:spLocks noChangeArrowheads="1"/>
            </p:cNvSpPr>
            <p:nvPr/>
          </p:nvSpPr>
          <p:spPr bwMode="auto">
            <a:xfrm>
              <a:off x="4056022" y="3624874"/>
              <a:ext cx="27516" cy="55053"/>
            </a:xfrm>
            <a:custGeom>
              <a:avLst/>
              <a:gdLst>
                <a:gd name="T0" fmla="*/ 56 w 80"/>
                <a:gd name="T1" fmla="*/ 45 h 158"/>
                <a:gd name="T2" fmla="*/ 56 w 80"/>
                <a:gd name="T3" fmla="*/ 45 h 158"/>
                <a:gd name="T4" fmla="*/ 22 w 80"/>
                <a:gd name="T5" fmla="*/ 0 h 158"/>
                <a:gd name="T6" fmla="*/ 0 w 80"/>
                <a:gd name="T7" fmla="*/ 56 h 158"/>
                <a:gd name="T8" fmla="*/ 22 w 80"/>
                <a:gd name="T9" fmla="*/ 157 h 158"/>
                <a:gd name="T10" fmla="*/ 67 w 80"/>
                <a:gd name="T11" fmla="*/ 90 h 158"/>
                <a:gd name="T12" fmla="*/ 56 w 80"/>
                <a:gd name="T13" fmla="*/ 4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58">
                  <a:moveTo>
                    <a:pt x="56" y="45"/>
                  </a:moveTo>
                  <a:lnTo>
                    <a:pt x="56" y="45"/>
                  </a:lnTo>
                  <a:cubicBezTo>
                    <a:pt x="34" y="22"/>
                    <a:pt x="34" y="11"/>
                    <a:pt x="22" y="0"/>
                  </a:cubicBezTo>
                  <a:cubicBezTo>
                    <a:pt x="0" y="0"/>
                    <a:pt x="0" y="22"/>
                    <a:pt x="0" y="56"/>
                  </a:cubicBezTo>
                  <a:cubicBezTo>
                    <a:pt x="11" y="79"/>
                    <a:pt x="0" y="157"/>
                    <a:pt x="22" y="157"/>
                  </a:cubicBezTo>
                  <a:cubicBezTo>
                    <a:pt x="45" y="146"/>
                    <a:pt x="45" y="112"/>
                    <a:pt x="67" y="90"/>
                  </a:cubicBezTo>
                  <a:cubicBezTo>
                    <a:pt x="79" y="67"/>
                    <a:pt x="56" y="56"/>
                    <a:pt x="56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" name="Freeform 96"/>
            <p:cNvSpPr>
              <a:spLocks noChangeArrowheads="1"/>
            </p:cNvSpPr>
            <p:nvPr/>
          </p:nvSpPr>
          <p:spPr bwMode="auto">
            <a:xfrm>
              <a:off x="4048379" y="3617229"/>
              <a:ext cx="42802" cy="70345"/>
            </a:xfrm>
            <a:custGeom>
              <a:avLst/>
              <a:gdLst>
                <a:gd name="T0" fmla="*/ 44 w 124"/>
                <a:gd name="T1" fmla="*/ 202 h 203"/>
                <a:gd name="T2" fmla="*/ 44 w 124"/>
                <a:gd name="T3" fmla="*/ 202 h 203"/>
                <a:gd name="T4" fmla="*/ 44 w 124"/>
                <a:gd name="T5" fmla="*/ 202 h 203"/>
                <a:gd name="T6" fmla="*/ 11 w 124"/>
                <a:gd name="T7" fmla="*/ 113 h 203"/>
                <a:gd name="T8" fmla="*/ 11 w 124"/>
                <a:gd name="T9" fmla="*/ 79 h 203"/>
                <a:gd name="T10" fmla="*/ 11 w 124"/>
                <a:gd name="T11" fmla="*/ 12 h 203"/>
                <a:gd name="T12" fmla="*/ 44 w 124"/>
                <a:gd name="T13" fmla="*/ 0 h 203"/>
                <a:gd name="T14" fmla="*/ 78 w 124"/>
                <a:gd name="T15" fmla="*/ 34 h 203"/>
                <a:gd name="T16" fmla="*/ 89 w 124"/>
                <a:gd name="T17" fmla="*/ 57 h 203"/>
                <a:gd name="T18" fmla="*/ 89 w 124"/>
                <a:gd name="T19" fmla="*/ 57 h 203"/>
                <a:gd name="T20" fmla="*/ 101 w 124"/>
                <a:gd name="T21" fmla="*/ 124 h 203"/>
                <a:gd name="T22" fmla="*/ 89 w 124"/>
                <a:gd name="T23" fmla="*/ 146 h 203"/>
                <a:gd name="T24" fmla="*/ 56 w 124"/>
                <a:gd name="T25" fmla="*/ 202 h 203"/>
                <a:gd name="T26" fmla="*/ 44 w 124"/>
                <a:gd name="T27" fmla="*/ 202 h 203"/>
                <a:gd name="T28" fmla="*/ 44 w 124"/>
                <a:gd name="T29" fmla="*/ 68 h 203"/>
                <a:gd name="T30" fmla="*/ 44 w 124"/>
                <a:gd name="T31" fmla="*/ 68 h 203"/>
                <a:gd name="T32" fmla="*/ 56 w 124"/>
                <a:gd name="T33" fmla="*/ 113 h 203"/>
                <a:gd name="T34" fmla="*/ 56 w 124"/>
                <a:gd name="T35" fmla="*/ 124 h 203"/>
                <a:gd name="T36" fmla="*/ 67 w 124"/>
                <a:gd name="T37" fmla="*/ 102 h 203"/>
                <a:gd name="T38" fmla="*/ 67 w 124"/>
                <a:gd name="T39" fmla="*/ 102 h 203"/>
                <a:gd name="T40" fmla="*/ 67 w 124"/>
                <a:gd name="T41" fmla="*/ 90 h 203"/>
                <a:gd name="T42" fmla="*/ 56 w 124"/>
                <a:gd name="T43" fmla="*/ 79 h 203"/>
                <a:gd name="T44" fmla="*/ 44 w 124"/>
                <a:gd name="T45" fmla="*/ 6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" h="203">
                  <a:moveTo>
                    <a:pt x="44" y="202"/>
                  </a:moveTo>
                  <a:lnTo>
                    <a:pt x="44" y="202"/>
                  </a:lnTo>
                  <a:lnTo>
                    <a:pt x="44" y="202"/>
                  </a:lnTo>
                  <a:cubicBezTo>
                    <a:pt x="11" y="202"/>
                    <a:pt x="11" y="158"/>
                    <a:pt x="11" y="113"/>
                  </a:cubicBezTo>
                  <a:cubicBezTo>
                    <a:pt x="11" y="102"/>
                    <a:pt x="11" y="90"/>
                    <a:pt x="11" y="79"/>
                  </a:cubicBezTo>
                  <a:cubicBezTo>
                    <a:pt x="0" y="45"/>
                    <a:pt x="0" y="34"/>
                    <a:pt x="11" y="12"/>
                  </a:cubicBezTo>
                  <a:cubicBezTo>
                    <a:pt x="22" y="12"/>
                    <a:pt x="33" y="0"/>
                    <a:pt x="44" y="0"/>
                  </a:cubicBezTo>
                  <a:cubicBezTo>
                    <a:pt x="67" y="12"/>
                    <a:pt x="78" y="23"/>
                    <a:pt x="78" y="34"/>
                  </a:cubicBezTo>
                  <a:cubicBezTo>
                    <a:pt x="78" y="45"/>
                    <a:pt x="89" y="45"/>
                    <a:pt x="89" y="57"/>
                  </a:cubicBezTo>
                  <a:lnTo>
                    <a:pt x="89" y="57"/>
                  </a:lnTo>
                  <a:cubicBezTo>
                    <a:pt x="112" y="79"/>
                    <a:pt x="123" y="102"/>
                    <a:pt x="101" y="124"/>
                  </a:cubicBezTo>
                  <a:cubicBezTo>
                    <a:pt x="101" y="135"/>
                    <a:pt x="89" y="146"/>
                    <a:pt x="89" y="146"/>
                  </a:cubicBezTo>
                  <a:cubicBezTo>
                    <a:pt x="89" y="169"/>
                    <a:pt x="78" y="191"/>
                    <a:pt x="56" y="202"/>
                  </a:cubicBezTo>
                  <a:lnTo>
                    <a:pt x="44" y="202"/>
                  </a:lnTo>
                  <a:close/>
                  <a:moveTo>
                    <a:pt x="44" y="68"/>
                  </a:moveTo>
                  <a:lnTo>
                    <a:pt x="44" y="68"/>
                  </a:lnTo>
                  <a:cubicBezTo>
                    <a:pt x="56" y="79"/>
                    <a:pt x="56" y="102"/>
                    <a:pt x="56" y="113"/>
                  </a:cubicBezTo>
                  <a:lnTo>
                    <a:pt x="56" y="124"/>
                  </a:lnTo>
                  <a:cubicBezTo>
                    <a:pt x="56" y="113"/>
                    <a:pt x="56" y="102"/>
                    <a:pt x="67" y="102"/>
                  </a:cubicBezTo>
                  <a:lnTo>
                    <a:pt x="67" y="102"/>
                  </a:lnTo>
                  <a:cubicBezTo>
                    <a:pt x="67" y="90"/>
                    <a:pt x="67" y="90"/>
                    <a:pt x="67" y="90"/>
                  </a:cubicBezTo>
                  <a:cubicBezTo>
                    <a:pt x="56" y="90"/>
                    <a:pt x="56" y="79"/>
                    <a:pt x="56" y="79"/>
                  </a:cubicBezTo>
                  <a:cubicBezTo>
                    <a:pt x="56" y="79"/>
                    <a:pt x="56" y="79"/>
                    <a:pt x="44" y="68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" name="Freeform 97"/>
            <p:cNvSpPr>
              <a:spLocks noChangeArrowheads="1"/>
            </p:cNvSpPr>
            <p:nvPr/>
          </p:nvSpPr>
          <p:spPr bwMode="auto">
            <a:xfrm>
              <a:off x="4149270" y="3679927"/>
              <a:ext cx="47388" cy="77992"/>
            </a:xfrm>
            <a:custGeom>
              <a:avLst/>
              <a:gdLst>
                <a:gd name="T0" fmla="*/ 45 w 136"/>
                <a:gd name="T1" fmla="*/ 67 h 225"/>
                <a:gd name="T2" fmla="*/ 45 w 136"/>
                <a:gd name="T3" fmla="*/ 67 h 225"/>
                <a:gd name="T4" fmla="*/ 11 w 136"/>
                <a:gd name="T5" fmla="*/ 11 h 225"/>
                <a:gd name="T6" fmla="*/ 0 w 136"/>
                <a:gd name="T7" fmla="*/ 112 h 225"/>
                <a:gd name="T8" fmla="*/ 56 w 136"/>
                <a:gd name="T9" fmla="*/ 179 h 225"/>
                <a:gd name="T10" fmla="*/ 112 w 136"/>
                <a:gd name="T11" fmla="*/ 213 h 225"/>
                <a:gd name="T12" fmla="*/ 79 w 136"/>
                <a:gd name="T13" fmla="*/ 146 h 225"/>
                <a:gd name="T14" fmla="*/ 45 w 136"/>
                <a:gd name="T15" fmla="*/ 6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" h="225">
                  <a:moveTo>
                    <a:pt x="45" y="67"/>
                  </a:moveTo>
                  <a:lnTo>
                    <a:pt x="45" y="67"/>
                  </a:lnTo>
                  <a:cubicBezTo>
                    <a:pt x="34" y="56"/>
                    <a:pt x="34" y="11"/>
                    <a:pt x="11" y="11"/>
                  </a:cubicBezTo>
                  <a:cubicBezTo>
                    <a:pt x="0" y="0"/>
                    <a:pt x="0" y="101"/>
                    <a:pt x="0" y="112"/>
                  </a:cubicBezTo>
                  <a:cubicBezTo>
                    <a:pt x="0" y="134"/>
                    <a:pt x="56" y="157"/>
                    <a:pt x="56" y="179"/>
                  </a:cubicBezTo>
                  <a:cubicBezTo>
                    <a:pt x="56" y="202"/>
                    <a:pt x="101" y="224"/>
                    <a:pt x="112" y="213"/>
                  </a:cubicBezTo>
                  <a:cubicBezTo>
                    <a:pt x="135" y="191"/>
                    <a:pt x="101" y="157"/>
                    <a:pt x="79" y="146"/>
                  </a:cubicBezTo>
                  <a:cubicBezTo>
                    <a:pt x="67" y="123"/>
                    <a:pt x="45" y="67"/>
                    <a:pt x="45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" name="Freeform 98"/>
            <p:cNvSpPr>
              <a:spLocks noChangeArrowheads="1"/>
            </p:cNvSpPr>
            <p:nvPr/>
          </p:nvSpPr>
          <p:spPr bwMode="auto">
            <a:xfrm>
              <a:off x="4141626" y="3676869"/>
              <a:ext cx="58089" cy="85638"/>
            </a:xfrm>
            <a:custGeom>
              <a:avLst/>
              <a:gdLst>
                <a:gd name="T0" fmla="*/ 123 w 169"/>
                <a:gd name="T1" fmla="*/ 246 h 247"/>
                <a:gd name="T2" fmla="*/ 123 w 169"/>
                <a:gd name="T3" fmla="*/ 246 h 247"/>
                <a:gd name="T4" fmla="*/ 123 w 169"/>
                <a:gd name="T5" fmla="*/ 246 h 247"/>
                <a:gd name="T6" fmla="*/ 56 w 169"/>
                <a:gd name="T7" fmla="*/ 190 h 247"/>
                <a:gd name="T8" fmla="*/ 33 w 169"/>
                <a:gd name="T9" fmla="*/ 168 h 247"/>
                <a:gd name="T10" fmla="*/ 0 w 169"/>
                <a:gd name="T11" fmla="*/ 134 h 247"/>
                <a:gd name="T12" fmla="*/ 22 w 169"/>
                <a:gd name="T13" fmla="*/ 11 h 247"/>
                <a:gd name="T14" fmla="*/ 33 w 169"/>
                <a:gd name="T15" fmla="*/ 0 h 247"/>
                <a:gd name="T16" fmla="*/ 44 w 169"/>
                <a:gd name="T17" fmla="*/ 0 h 247"/>
                <a:gd name="T18" fmla="*/ 78 w 169"/>
                <a:gd name="T19" fmla="*/ 44 h 247"/>
                <a:gd name="T20" fmla="*/ 89 w 169"/>
                <a:gd name="T21" fmla="*/ 67 h 247"/>
                <a:gd name="T22" fmla="*/ 89 w 169"/>
                <a:gd name="T23" fmla="*/ 67 h 247"/>
                <a:gd name="T24" fmla="*/ 89 w 169"/>
                <a:gd name="T25" fmla="*/ 67 h 247"/>
                <a:gd name="T26" fmla="*/ 112 w 169"/>
                <a:gd name="T27" fmla="*/ 134 h 247"/>
                <a:gd name="T28" fmla="*/ 168 w 169"/>
                <a:gd name="T29" fmla="*/ 202 h 247"/>
                <a:gd name="T30" fmla="*/ 157 w 169"/>
                <a:gd name="T31" fmla="*/ 235 h 247"/>
                <a:gd name="T32" fmla="*/ 123 w 169"/>
                <a:gd name="T33" fmla="*/ 246 h 247"/>
                <a:gd name="T34" fmla="*/ 89 w 169"/>
                <a:gd name="T35" fmla="*/ 168 h 247"/>
                <a:gd name="T36" fmla="*/ 89 w 169"/>
                <a:gd name="T37" fmla="*/ 168 h 247"/>
                <a:gd name="T38" fmla="*/ 101 w 169"/>
                <a:gd name="T39" fmla="*/ 190 h 247"/>
                <a:gd name="T40" fmla="*/ 123 w 169"/>
                <a:gd name="T41" fmla="*/ 202 h 247"/>
                <a:gd name="T42" fmla="*/ 123 w 169"/>
                <a:gd name="T43" fmla="*/ 202 h 247"/>
                <a:gd name="T44" fmla="*/ 89 w 169"/>
                <a:gd name="T45" fmla="*/ 168 h 247"/>
                <a:gd name="T46" fmla="*/ 44 w 169"/>
                <a:gd name="T47" fmla="*/ 123 h 247"/>
                <a:gd name="T48" fmla="*/ 44 w 169"/>
                <a:gd name="T49" fmla="*/ 123 h 247"/>
                <a:gd name="T50" fmla="*/ 56 w 169"/>
                <a:gd name="T51" fmla="*/ 134 h 247"/>
                <a:gd name="T52" fmla="*/ 67 w 169"/>
                <a:gd name="T53" fmla="*/ 145 h 247"/>
                <a:gd name="T54" fmla="*/ 44 w 169"/>
                <a:gd name="T55" fmla="*/ 89 h 247"/>
                <a:gd name="T56" fmla="*/ 44 w 169"/>
                <a:gd name="T57" fmla="*/ 78 h 247"/>
                <a:gd name="T58" fmla="*/ 44 w 169"/>
                <a:gd name="T59" fmla="*/ 123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9" h="247">
                  <a:moveTo>
                    <a:pt x="123" y="246"/>
                  </a:moveTo>
                  <a:lnTo>
                    <a:pt x="123" y="246"/>
                  </a:lnTo>
                  <a:lnTo>
                    <a:pt x="123" y="246"/>
                  </a:lnTo>
                  <a:cubicBezTo>
                    <a:pt x="89" y="246"/>
                    <a:pt x="56" y="224"/>
                    <a:pt x="56" y="190"/>
                  </a:cubicBezTo>
                  <a:cubicBezTo>
                    <a:pt x="56" y="190"/>
                    <a:pt x="44" y="179"/>
                    <a:pt x="33" y="168"/>
                  </a:cubicBezTo>
                  <a:cubicBezTo>
                    <a:pt x="11" y="157"/>
                    <a:pt x="0" y="145"/>
                    <a:pt x="0" y="134"/>
                  </a:cubicBezTo>
                  <a:cubicBezTo>
                    <a:pt x="0" y="112"/>
                    <a:pt x="0" y="33"/>
                    <a:pt x="22" y="11"/>
                  </a:cubicBezTo>
                  <a:cubicBezTo>
                    <a:pt x="22" y="0"/>
                    <a:pt x="33" y="0"/>
                    <a:pt x="3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7" y="0"/>
                    <a:pt x="67" y="22"/>
                    <a:pt x="78" y="44"/>
                  </a:cubicBezTo>
                  <a:cubicBezTo>
                    <a:pt x="78" y="56"/>
                    <a:pt x="78" y="67"/>
                    <a:pt x="89" y="67"/>
                  </a:cubicBezTo>
                  <a:lnTo>
                    <a:pt x="89" y="67"/>
                  </a:lnTo>
                  <a:lnTo>
                    <a:pt x="89" y="67"/>
                  </a:lnTo>
                  <a:cubicBezTo>
                    <a:pt x="101" y="100"/>
                    <a:pt x="112" y="123"/>
                    <a:pt x="112" y="134"/>
                  </a:cubicBezTo>
                  <a:cubicBezTo>
                    <a:pt x="123" y="145"/>
                    <a:pt x="168" y="179"/>
                    <a:pt x="168" y="202"/>
                  </a:cubicBezTo>
                  <a:cubicBezTo>
                    <a:pt x="168" y="213"/>
                    <a:pt x="168" y="224"/>
                    <a:pt x="157" y="235"/>
                  </a:cubicBezTo>
                  <a:cubicBezTo>
                    <a:pt x="146" y="246"/>
                    <a:pt x="134" y="246"/>
                    <a:pt x="123" y="246"/>
                  </a:cubicBezTo>
                  <a:close/>
                  <a:moveTo>
                    <a:pt x="89" y="168"/>
                  </a:moveTo>
                  <a:lnTo>
                    <a:pt x="89" y="168"/>
                  </a:lnTo>
                  <a:cubicBezTo>
                    <a:pt x="101" y="179"/>
                    <a:pt x="101" y="190"/>
                    <a:pt x="101" y="190"/>
                  </a:cubicBezTo>
                  <a:cubicBezTo>
                    <a:pt x="101" y="202"/>
                    <a:pt x="112" y="202"/>
                    <a:pt x="123" y="202"/>
                  </a:cubicBezTo>
                  <a:lnTo>
                    <a:pt x="123" y="202"/>
                  </a:lnTo>
                  <a:cubicBezTo>
                    <a:pt x="123" y="202"/>
                    <a:pt x="112" y="190"/>
                    <a:pt x="89" y="168"/>
                  </a:cubicBezTo>
                  <a:close/>
                  <a:moveTo>
                    <a:pt x="44" y="123"/>
                  </a:moveTo>
                  <a:lnTo>
                    <a:pt x="44" y="123"/>
                  </a:lnTo>
                  <a:lnTo>
                    <a:pt x="56" y="134"/>
                  </a:lnTo>
                  <a:cubicBezTo>
                    <a:pt x="67" y="145"/>
                    <a:pt x="67" y="145"/>
                    <a:pt x="67" y="145"/>
                  </a:cubicBezTo>
                  <a:cubicBezTo>
                    <a:pt x="56" y="123"/>
                    <a:pt x="56" y="100"/>
                    <a:pt x="44" y="89"/>
                  </a:cubicBezTo>
                  <a:lnTo>
                    <a:pt x="44" y="78"/>
                  </a:lnTo>
                  <a:cubicBezTo>
                    <a:pt x="44" y="100"/>
                    <a:pt x="44" y="112"/>
                    <a:pt x="44" y="123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" name="Freeform 99"/>
            <p:cNvSpPr>
              <a:spLocks noChangeArrowheads="1"/>
            </p:cNvSpPr>
            <p:nvPr/>
          </p:nvSpPr>
          <p:spPr bwMode="auto">
            <a:xfrm>
              <a:off x="3027244" y="2610987"/>
              <a:ext cx="62674" cy="108576"/>
            </a:xfrm>
            <a:custGeom>
              <a:avLst/>
              <a:gdLst>
                <a:gd name="T0" fmla="*/ 112 w 181"/>
                <a:gd name="T1" fmla="*/ 22 h 315"/>
                <a:gd name="T2" fmla="*/ 112 w 181"/>
                <a:gd name="T3" fmla="*/ 22 h 315"/>
                <a:gd name="T4" fmla="*/ 146 w 181"/>
                <a:gd name="T5" fmla="*/ 101 h 315"/>
                <a:gd name="T6" fmla="*/ 135 w 181"/>
                <a:gd name="T7" fmla="*/ 224 h 315"/>
                <a:gd name="T8" fmla="*/ 112 w 181"/>
                <a:gd name="T9" fmla="*/ 280 h 315"/>
                <a:gd name="T10" fmla="*/ 34 w 181"/>
                <a:gd name="T11" fmla="*/ 236 h 315"/>
                <a:gd name="T12" fmla="*/ 67 w 181"/>
                <a:gd name="T13" fmla="*/ 180 h 315"/>
                <a:gd name="T14" fmla="*/ 90 w 181"/>
                <a:gd name="T15" fmla="*/ 67 h 315"/>
                <a:gd name="T16" fmla="*/ 112 w 181"/>
                <a:gd name="T17" fmla="*/ 2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315">
                  <a:moveTo>
                    <a:pt x="112" y="22"/>
                  </a:moveTo>
                  <a:lnTo>
                    <a:pt x="112" y="22"/>
                  </a:lnTo>
                  <a:cubicBezTo>
                    <a:pt x="112" y="45"/>
                    <a:pt x="123" y="78"/>
                    <a:pt x="146" y="101"/>
                  </a:cubicBezTo>
                  <a:cubicBezTo>
                    <a:pt x="180" y="112"/>
                    <a:pt x="135" y="191"/>
                    <a:pt x="135" y="224"/>
                  </a:cubicBezTo>
                  <a:cubicBezTo>
                    <a:pt x="135" y="258"/>
                    <a:pt x="146" y="314"/>
                    <a:pt x="112" y="280"/>
                  </a:cubicBezTo>
                  <a:cubicBezTo>
                    <a:pt x="79" y="247"/>
                    <a:pt x="56" y="236"/>
                    <a:pt x="34" y="236"/>
                  </a:cubicBezTo>
                  <a:cubicBezTo>
                    <a:pt x="0" y="236"/>
                    <a:pt x="45" y="202"/>
                    <a:pt x="67" y="180"/>
                  </a:cubicBezTo>
                  <a:cubicBezTo>
                    <a:pt x="101" y="146"/>
                    <a:pt x="112" y="101"/>
                    <a:pt x="90" y="67"/>
                  </a:cubicBezTo>
                  <a:cubicBezTo>
                    <a:pt x="67" y="22"/>
                    <a:pt x="112" y="0"/>
                    <a:pt x="112" y="2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" name="Freeform 100"/>
            <p:cNvSpPr>
              <a:spLocks noChangeArrowheads="1"/>
            </p:cNvSpPr>
            <p:nvPr/>
          </p:nvSpPr>
          <p:spPr bwMode="auto">
            <a:xfrm>
              <a:off x="3022657" y="2607928"/>
              <a:ext cx="74904" cy="113164"/>
            </a:xfrm>
            <a:custGeom>
              <a:avLst/>
              <a:gdLst>
                <a:gd name="T0" fmla="*/ 134 w 214"/>
                <a:gd name="T1" fmla="*/ 325 h 326"/>
                <a:gd name="T2" fmla="*/ 134 w 214"/>
                <a:gd name="T3" fmla="*/ 325 h 326"/>
                <a:gd name="T4" fmla="*/ 112 w 214"/>
                <a:gd name="T5" fmla="*/ 314 h 326"/>
                <a:gd name="T6" fmla="*/ 45 w 214"/>
                <a:gd name="T7" fmla="*/ 269 h 326"/>
                <a:gd name="T8" fmla="*/ 11 w 214"/>
                <a:gd name="T9" fmla="*/ 247 h 326"/>
                <a:gd name="T10" fmla="*/ 67 w 214"/>
                <a:gd name="T11" fmla="*/ 179 h 326"/>
                <a:gd name="T12" fmla="*/ 67 w 214"/>
                <a:gd name="T13" fmla="*/ 168 h 326"/>
                <a:gd name="T14" fmla="*/ 78 w 214"/>
                <a:gd name="T15" fmla="*/ 89 h 326"/>
                <a:gd name="T16" fmla="*/ 78 w 214"/>
                <a:gd name="T17" fmla="*/ 22 h 326"/>
                <a:gd name="T18" fmla="*/ 112 w 214"/>
                <a:gd name="T19" fmla="*/ 0 h 326"/>
                <a:gd name="T20" fmla="*/ 146 w 214"/>
                <a:gd name="T21" fmla="*/ 22 h 326"/>
                <a:gd name="T22" fmla="*/ 146 w 214"/>
                <a:gd name="T23" fmla="*/ 33 h 326"/>
                <a:gd name="T24" fmla="*/ 168 w 214"/>
                <a:gd name="T25" fmla="*/ 89 h 326"/>
                <a:gd name="T26" fmla="*/ 179 w 214"/>
                <a:gd name="T27" fmla="*/ 191 h 326"/>
                <a:gd name="T28" fmla="*/ 168 w 214"/>
                <a:gd name="T29" fmla="*/ 235 h 326"/>
                <a:gd name="T30" fmla="*/ 168 w 214"/>
                <a:gd name="T31" fmla="*/ 269 h 326"/>
                <a:gd name="T32" fmla="*/ 157 w 214"/>
                <a:gd name="T33" fmla="*/ 314 h 326"/>
                <a:gd name="T34" fmla="*/ 134 w 214"/>
                <a:gd name="T35" fmla="*/ 325 h 326"/>
                <a:gd name="T36" fmla="*/ 67 w 214"/>
                <a:gd name="T37" fmla="*/ 224 h 326"/>
                <a:gd name="T38" fmla="*/ 67 w 214"/>
                <a:gd name="T39" fmla="*/ 224 h 326"/>
                <a:gd name="T40" fmla="*/ 123 w 214"/>
                <a:gd name="T41" fmla="*/ 258 h 326"/>
                <a:gd name="T42" fmla="*/ 123 w 214"/>
                <a:gd name="T43" fmla="*/ 235 h 326"/>
                <a:gd name="T44" fmla="*/ 134 w 214"/>
                <a:gd name="T45" fmla="*/ 179 h 326"/>
                <a:gd name="T46" fmla="*/ 146 w 214"/>
                <a:gd name="T47" fmla="*/ 123 h 326"/>
                <a:gd name="T48" fmla="*/ 134 w 214"/>
                <a:gd name="T49" fmla="*/ 112 h 326"/>
                <a:gd name="T50" fmla="*/ 101 w 214"/>
                <a:gd name="T51" fmla="*/ 202 h 326"/>
                <a:gd name="T52" fmla="*/ 90 w 214"/>
                <a:gd name="T53" fmla="*/ 213 h 326"/>
                <a:gd name="T54" fmla="*/ 67 w 214"/>
                <a:gd name="T55" fmla="*/ 22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4" h="326">
                  <a:moveTo>
                    <a:pt x="134" y="325"/>
                  </a:moveTo>
                  <a:lnTo>
                    <a:pt x="134" y="325"/>
                  </a:lnTo>
                  <a:cubicBezTo>
                    <a:pt x="123" y="325"/>
                    <a:pt x="112" y="314"/>
                    <a:pt x="112" y="314"/>
                  </a:cubicBezTo>
                  <a:cubicBezTo>
                    <a:pt x="78" y="280"/>
                    <a:pt x="67" y="269"/>
                    <a:pt x="45" y="269"/>
                  </a:cubicBezTo>
                  <a:cubicBezTo>
                    <a:pt x="23" y="269"/>
                    <a:pt x="11" y="258"/>
                    <a:pt x="11" y="247"/>
                  </a:cubicBezTo>
                  <a:cubicBezTo>
                    <a:pt x="0" y="224"/>
                    <a:pt x="34" y="202"/>
                    <a:pt x="67" y="179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90" y="145"/>
                    <a:pt x="101" y="112"/>
                    <a:pt x="78" y="89"/>
                  </a:cubicBezTo>
                  <a:cubicBezTo>
                    <a:pt x="67" y="67"/>
                    <a:pt x="67" y="45"/>
                    <a:pt x="78" y="22"/>
                  </a:cubicBezTo>
                  <a:cubicBezTo>
                    <a:pt x="90" y="11"/>
                    <a:pt x="101" y="0"/>
                    <a:pt x="112" y="0"/>
                  </a:cubicBezTo>
                  <a:cubicBezTo>
                    <a:pt x="134" y="0"/>
                    <a:pt x="146" y="11"/>
                    <a:pt x="146" y="22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56"/>
                    <a:pt x="157" y="78"/>
                    <a:pt x="168" y="89"/>
                  </a:cubicBezTo>
                  <a:cubicBezTo>
                    <a:pt x="213" y="112"/>
                    <a:pt x="191" y="157"/>
                    <a:pt x="179" y="191"/>
                  </a:cubicBezTo>
                  <a:cubicBezTo>
                    <a:pt x="168" y="213"/>
                    <a:pt x="168" y="224"/>
                    <a:pt x="168" y="235"/>
                  </a:cubicBezTo>
                  <a:cubicBezTo>
                    <a:pt x="168" y="247"/>
                    <a:pt x="168" y="258"/>
                    <a:pt x="168" y="269"/>
                  </a:cubicBezTo>
                  <a:cubicBezTo>
                    <a:pt x="168" y="291"/>
                    <a:pt x="168" y="302"/>
                    <a:pt x="157" y="314"/>
                  </a:cubicBezTo>
                  <a:cubicBezTo>
                    <a:pt x="157" y="325"/>
                    <a:pt x="146" y="325"/>
                    <a:pt x="134" y="325"/>
                  </a:cubicBezTo>
                  <a:close/>
                  <a:moveTo>
                    <a:pt x="67" y="224"/>
                  </a:moveTo>
                  <a:lnTo>
                    <a:pt x="67" y="224"/>
                  </a:lnTo>
                  <a:cubicBezTo>
                    <a:pt x="90" y="235"/>
                    <a:pt x="101" y="247"/>
                    <a:pt x="123" y="258"/>
                  </a:cubicBezTo>
                  <a:cubicBezTo>
                    <a:pt x="123" y="247"/>
                    <a:pt x="123" y="247"/>
                    <a:pt x="123" y="235"/>
                  </a:cubicBezTo>
                  <a:cubicBezTo>
                    <a:pt x="123" y="213"/>
                    <a:pt x="134" y="202"/>
                    <a:pt x="134" y="179"/>
                  </a:cubicBezTo>
                  <a:cubicBezTo>
                    <a:pt x="146" y="168"/>
                    <a:pt x="157" y="134"/>
                    <a:pt x="146" y="123"/>
                  </a:cubicBezTo>
                  <a:cubicBezTo>
                    <a:pt x="146" y="123"/>
                    <a:pt x="134" y="123"/>
                    <a:pt x="134" y="112"/>
                  </a:cubicBezTo>
                  <a:cubicBezTo>
                    <a:pt x="134" y="145"/>
                    <a:pt x="123" y="179"/>
                    <a:pt x="101" y="202"/>
                  </a:cubicBezTo>
                  <a:cubicBezTo>
                    <a:pt x="90" y="213"/>
                    <a:pt x="90" y="213"/>
                    <a:pt x="90" y="213"/>
                  </a:cubicBezTo>
                  <a:cubicBezTo>
                    <a:pt x="90" y="213"/>
                    <a:pt x="78" y="224"/>
                    <a:pt x="67" y="224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" name="Freeform 101"/>
            <p:cNvSpPr>
              <a:spLocks noChangeArrowheads="1"/>
            </p:cNvSpPr>
            <p:nvPr/>
          </p:nvSpPr>
          <p:spPr bwMode="auto">
            <a:xfrm>
              <a:off x="2964569" y="2623221"/>
              <a:ext cx="42802" cy="22938"/>
            </a:xfrm>
            <a:custGeom>
              <a:avLst/>
              <a:gdLst>
                <a:gd name="T0" fmla="*/ 90 w 124"/>
                <a:gd name="T1" fmla="*/ 33 h 68"/>
                <a:gd name="T2" fmla="*/ 90 w 124"/>
                <a:gd name="T3" fmla="*/ 33 h 68"/>
                <a:gd name="T4" fmla="*/ 11 w 124"/>
                <a:gd name="T5" fmla="*/ 11 h 68"/>
                <a:gd name="T6" fmla="*/ 33 w 124"/>
                <a:gd name="T7" fmla="*/ 56 h 68"/>
                <a:gd name="T8" fmla="*/ 101 w 124"/>
                <a:gd name="T9" fmla="*/ 56 h 68"/>
                <a:gd name="T10" fmla="*/ 90 w 124"/>
                <a:gd name="T11" fmla="*/ 3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68">
                  <a:moveTo>
                    <a:pt x="90" y="33"/>
                  </a:moveTo>
                  <a:lnTo>
                    <a:pt x="90" y="33"/>
                  </a:lnTo>
                  <a:cubicBezTo>
                    <a:pt x="67" y="67"/>
                    <a:pt x="22" y="0"/>
                    <a:pt x="11" y="11"/>
                  </a:cubicBezTo>
                  <a:cubicBezTo>
                    <a:pt x="0" y="22"/>
                    <a:pt x="11" y="44"/>
                    <a:pt x="33" y="56"/>
                  </a:cubicBezTo>
                  <a:cubicBezTo>
                    <a:pt x="67" y="67"/>
                    <a:pt x="90" y="67"/>
                    <a:pt x="101" y="56"/>
                  </a:cubicBezTo>
                  <a:cubicBezTo>
                    <a:pt x="123" y="33"/>
                    <a:pt x="101" y="22"/>
                    <a:pt x="90" y="3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" name="Freeform 102"/>
            <p:cNvSpPr>
              <a:spLocks noChangeArrowheads="1"/>
            </p:cNvSpPr>
            <p:nvPr/>
          </p:nvSpPr>
          <p:spPr bwMode="auto">
            <a:xfrm>
              <a:off x="2956926" y="2618632"/>
              <a:ext cx="55031" cy="35173"/>
            </a:xfrm>
            <a:custGeom>
              <a:avLst/>
              <a:gdLst>
                <a:gd name="T0" fmla="*/ 100 w 158"/>
                <a:gd name="T1" fmla="*/ 101 h 102"/>
                <a:gd name="T2" fmla="*/ 100 w 158"/>
                <a:gd name="T3" fmla="*/ 101 h 102"/>
                <a:gd name="T4" fmla="*/ 100 w 158"/>
                <a:gd name="T5" fmla="*/ 101 h 102"/>
                <a:gd name="T6" fmla="*/ 44 w 158"/>
                <a:gd name="T7" fmla="*/ 90 h 102"/>
                <a:gd name="T8" fmla="*/ 11 w 158"/>
                <a:gd name="T9" fmla="*/ 45 h 102"/>
                <a:gd name="T10" fmla="*/ 22 w 158"/>
                <a:gd name="T11" fmla="*/ 12 h 102"/>
                <a:gd name="T12" fmla="*/ 44 w 158"/>
                <a:gd name="T13" fmla="*/ 0 h 102"/>
                <a:gd name="T14" fmla="*/ 78 w 158"/>
                <a:gd name="T15" fmla="*/ 23 h 102"/>
                <a:gd name="T16" fmla="*/ 100 w 158"/>
                <a:gd name="T17" fmla="*/ 34 h 102"/>
                <a:gd name="T18" fmla="*/ 123 w 158"/>
                <a:gd name="T19" fmla="*/ 23 h 102"/>
                <a:gd name="T20" fmla="*/ 157 w 158"/>
                <a:gd name="T21" fmla="*/ 34 h 102"/>
                <a:gd name="T22" fmla="*/ 145 w 158"/>
                <a:gd name="T23" fmla="*/ 79 h 102"/>
                <a:gd name="T24" fmla="*/ 100 w 158"/>
                <a:gd name="T25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" h="102">
                  <a:moveTo>
                    <a:pt x="100" y="101"/>
                  </a:moveTo>
                  <a:lnTo>
                    <a:pt x="100" y="101"/>
                  </a:lnTo>
                  <a:lnTo>
                    <a:pt x="100" y="101"/>
                  </a:lnTo>
                  <a:cubicBezTo>
                    <a:pt x="78" y="101"/>
                    <a:pt x="67" y="101"/>
                    <a:pt x="44" y="90"/>
                  </a:cubicBezTo>
                  <a:cubicBezTo>
                    <a:pt x="11" y="68"/>
                    <a:pt x="11" y="56"/>
                    <a:pt x="11" y="45"/>
                  </a:cubicBezTo>
                  <a:cubicBezTo>
                    <a:pt x="0" y="34"/>
                    <a:pt x="11" y="12"/>
                    <a:pt x="22" y="12"/>
                  </a:cubicBezTo>
                  <a:cubicBezTo>
                    <a:pt x="22" y="0"/>
                    <a:pt x="33" y="0"/>
                    <a:pt x="44" y="0"/>
                  </a:cubicBezTo>
                  <a:cubicBezTo>
                    <a:pt x="55" y="0"/>
                    <a:pt x="67" y="12"/>
                    <a:pt x="78" y="23"/>
                  </a:cubicBezTo>
                  <a:cubicBezTo>
                    <a:pt x="78" y="23"/>
                    <a:pt x="89" y="34"/>
                    <a:pt x="100" y="34"/>
                  </a:cubicBezTo>
                  <a:cubicBezTo>
                    <a:pt x="100" y="23"/>
                    <a:pt x="112" y="23"/>
                    <a:pt x="123" y="23"/>
                  </a:cubicBezTo>
                  <a:cubicBezTo>
                    <a:pt x="134" y="23"/>
                    <a:pt x="145" y="23"/>
                    <a:pt x="157" y="34"/>
                  </a:cubicBezTo>
                  <a:cubicBezTo>
                    <a:pt x="157" y="56"/>
                    <a:pt x="157" y="68"/>
                    <a:pt x="145" y="79"/>
                  </a:cubicBezTo>
                  <a:cubicBezTo>
                    <a:pt x="123" y="90"/>
                    <a:pt x="112" y="101"/>
                    <a:pt x="100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" name="Freeform 103"/>
            <p:cNvSpPr>
              <a:spLocks noChangeArrowheads="1"/>
            </p:cNvSpPr>
            <p:nvPr/>
          </p:nvSpPr>
          <p:spPr bwMode="auto">
            <a:xfrm>
              <a:off x="3435392" y="2363249"/>
              <a:ext cx="85604" cy="148336"/>
            </a:xfrm>
            <a:custGeom>
              <a:avLst/>
              <a:gdLst>
                <a:gd name="T0" fmla="*/ 135 w 247"/>
                <a:gd name="T1" fmla="*/ 101 h 427"/>
                <a:gd name="T2" fmla="*/ 135 w 247"/>
                <a:gd name="T3" fmla="*/ 101 h 427"/>
                <a:gd name="T4" fmla="*/ 56 w 247"/>
                <a:gd name="T5" fmla="*/ 11 h 427"/>
                <a:gd name="T6" fmla="*/ 34 w 247"/>
                <a:gd name="T7" fmla="*/ 112 h 427"/>
                <a:gd name="T8" fmla="*/ 146 w 247"/>
                <a:gd name="T9" fmla="*/ 269 h 427"/>
                <a:gd name="T10" fmla="*/ 213 w 247"/>
                <a:gd name="T11" fmla="*/ 403 h 427"/>
                <a:gd name="T12" fmla="*/ 235 w 247"/>
                <a:gd name="T13" fmla="*/ 359 h 427"/>
                <a:gd name="T14" fmla="*/ 235 w 247"/>
                <a:gd name="T15" fmla="*/ 235 h 427"/>
                <a:gd name="T16" fmla="*/ 190 w 247"/>
                <a:gd name="T17" fmla="*/ 213 h 427"/>
                <a:gd name="T18" fmla="*/ 146 w 247"/>
                <a:gd name="T19" fmla="*/ 168 h 427"/>
                <a:gd name="T20" fmla="*/ 135 w 247"/>
                <a:gd name="T21" fmla="*/ 101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7" h="427">
                  <a:moveTo>
                    <a:pt x="135" y="101"/>
                  </a:moveTo>
                  <a:lnTo>
                    <a:pt x="135" y="101"/>
                  </a:lnTo>
                  <a:cubicBezTo>
                    <a:pt x="112" y="67"/>
                    <a:pt x="90" y="0"/>
                    <a:pt x="56" y="11"/>
                  </a:cubicBezTo>
                  <a:cubicBezTo>
                    <a:pt x="22" y="11"/>
                    <a:pt x="0" y="67"/>
                    <a:pt x="34" y="112"/>
                  </a:cubicBezTo>
                  <a:cubicBezTo>
                    <a:pt x="67" y="157"/>
                    <a:pt x="112" y="224"/>
                    <a:pt x="146" y="269"/>
                  </a:cubicBezTo>
                  <a:cubicBezTo>
                    <a:pt x="179" y="302"/>
                    <a:pt x="202" y="381"/>
                    <a:pt x="213" y="403"/>
                  </a:cubicBezTo>
                  <a:cubicBezTo>
                    <a:pt x="213" y="426"/>
                    <a:pt x="246" y="403"/>
                    <a:pt x="235" y="359"/>
                  </a:cubicBezTo>
                  <a:cubicBezTo>
                    <a:pt x="213" y="314"/>
                    <a:pt x="235" y="269"/>
                    <a:pt x="235" y="235"/>
                  </a:cubicBezTo>
                  <a:cubicBezTo>
                    <a:pt x="235" y="202"/>
                    <a:pt x="224" y="202"/>
                    <a:pt x="190" y="213"/>
                  </a:cubicBezTo>
                  <a:cubicBezTo>
                    <a:pt x="157" y="224"/>
                    <a:pt x="135" y="213"/>
                    <a:pt x="146" y="168"/>
                  </a:cubicBezTo>
                  <a:cubicBezTo>
                    <a:pt x="157" y="135"/>
                    <a:pt x="135" y="101"/>
                    <a:pt x="135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" name="Freeform 104"/>
            <p:cNvSpPr>
              <a:spLocks noChangeArrowheads="1"/>
            </p:cNvSpPr>
            <p:nvPr/>
          </p:nvSpPr>
          <p:spPr bwMode="auto">
            <a:xfrm>
              <a:off x="3430806" y="2358661"/>
              <a:ext cx="93247" cy="155983"/>
            </a:xfrm>
            <a:custGeom>
              <a:avLst/>
              <a:gdLst>
                <a:gd name="T0" fmla="*/ 224 w 270"/>
                <a:gd name="T1" fmla="*/ 448 h 449"/>
                <a:gd name="T2" fmla="*/ 224 w 270"/>
                <a:gd name="T3" fmla="*/ 448 h 449"/>
                <a:gd name="T4" fmla="*/ 201 w 270"/>
                <a:gd name="T5" fmla="*/ 414 h 449"/>
                <a:gd name="T6" fmla="*/ 146 w 270"/>
                <a:gd name="T7" fmla="*/ 291 h 449"/>
                <a:gd name="T8" fmla="*/ 45 w 270"/>
                <a:gd name="T9" fmla="*/ 168 h 449"/>
                <a:gd name="T10" fmla="*/ 22 w 270"/>
                <a:gd name="T11" fmla="*/ 134 h 449"/>
                <a:gd name="T12" fmla="*/ 11 w 270"/>
                <a:gd name="T13" fmla="*/ 44 h 449"/>
                <a:gd name="T14" fmla="*/ 67 w 270"/>
                <a:gd name="T15" fmla="*/ 0 h 449"/>
                <a:gd name="T16" fmla="*/ 78 w 270"/>
                <a:gd name="T17" fmla="*/ 0 h 449"/>
                <a:gd name="T18" fmla="*/ 157 w 270"/>
                <a:gd name="T19" fmla="*/ 78 h 449"/>
                <a:gd name="T20" fmla="*/ 168 w 270"/>
                <a:gd name="T21" fmla="*/ 101 h 449"/>
                <a:gd name="T22" fmla="*/ 179 w 270"/>
                <a:gd name="T23" fmla="*/ 190 h 449"/>
                <a:gd name="T24" fmla="*/ 179 w 270"/>
                <a:gd name="T25" fmla="*/ 201 h 449"/>
                <a:gd name="T26" fmla="*/ 190 w 270"/>
                <a:gd name="T27" fmla="*/ 201 h 449"/>
                <a:gd name="T28" fmla="*/ 224 w 270"/>
                <a:gd name="T29" fmla="*/ 190 h 449"/>
                <a:gd name="T30" fmla="*/ 257 w 270"/>
                <a:gd name="T31" fmla="*/ 201 h 449"/>
                <a:gd name="T32" fmla="*/ 269 w 270"/>
                <a:gd name="T33" fmla="*/ 246 h 449"/>
                <a:gd name="T34" fmla="*/ 257 w 270"/>
                <a:gd name="T35" fmla="*/ 280 h 449"/>
                <a:gd name="T36" fmla="*/ 257 w 270"/>
                <a:gd name="T37" fmla="*/ 358 h 449"/>
                <a:gd name="T38" fmla="*/ 257 w 270"/>
                <a:gd name="T39" fmla="*/ 426 h 449"/>
                <a:gd name="T40" fmla="*/ 224 w 270"/>
                <a:gd name="T41" fmla="*/ 448 h 449"/>
                <a:gd name="T42" fmla="*/ 146 w 270"/>
                <a:gd name="T43" fmla="*/ 235 h 449"/>
                <a:gd name="T44" fmla="*/ 146 w 270"/>
                <a:gd name="T45" fmla="*/ 235 h 449"/>
                <a:gd name="T46" fmla="*/ 168 w 270"/>
                <a:gd name="T47" fmla="*/ 257 h 449"/>
                <a:gd name="T48" fmla="*/ 213 w 270"/>
                <a:gd name="T49" fmla="*/ 325 h 449"/>
                <a:gd name="T50" fmla="*/ 224 w 270"/>
                <a:gd name="T51" fmla="*/ 269 h 449"/>
                <a:gd name="T52" fmla="*/ 224 w 270"/>
                <a:gd name="T53" fmla="*/ 246 h 449"/>
                <a:gd name="T54" fmla="*/ 224 w 270"/>
                <a:gd name="T55" fmla="*/ 235 h 449"/>
                <a:gd name="T56" fmla="*/ 213 w 270"/>
                <a:gd name="T57" fmla="*/ 246 h 449"/>
                <a:gd name="T58" fmla="*/ 146 w 270"/>
                <a:gd name="T59" fmla="*/ 235 h 449"/>
                <a:gd name="T60" fmla="*/ 78 w 270"/>
                <a:gd name="T61" fmla="*/ 44 h 449"/>
                <a:gd name="T62" fmla="*/ 78 w 270"/>
                <a:gd name="T63" fmla="*/ 44 h 449"/>
                <a:gd name="T64" fmla="*/ 56 w 270"/>
                <a:gd name="T65" fmla="*/ 67 h 449"/>
                <a:gd name="T66" fmla="*/ 56 w 270"/>
                <a:gd name="T67" fmla="*/ 112 h 449"/>
                <a:gd name="T68" fmla="*/ 78 w 270"/>
                <a:gd name="T69" fmla="*/ 134 h 449"/>
                <a:gd name="T70" fmla="*/ 146 w 270"/>
                <a:gd name="T71" fmla="*/ 224 h 449"/>
                <a:gd name="T72" fmla="*/ 134 w 270"/>
                <a:gd name="T73" fmla="*/ 179 h 449"/>
                <a:gd name="T74" fmla="*/ 123 w 270"/>
                <a:gd name="T75" fmla="*/ 123 h 449"/>
                <a:gd name="T76" fmla="*/ 123 w 270"/>
                <a:gd name="T77" fmla="*/ 123 h 449"/>
                <a:gd name="T78" fmla="*/ 112 w 270"/>
                <a:gd name="T79" fmla="*/ 101 h 449"/>
                <a:gd name="T80" fmla="*/ 78 w 270"/>
                <a:gd name="T81" fmla="*/ 4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0" h="449">
                  <a:moveTo>
                    <a:pt x="224" y="448"/>
                  </a:moveTo>
                  <a:lnTo>
                    <a:pt x="224" y="448"/>
                  </a:lnTo>
                  <a:cubicBezTo>
                    <a:pt x="213" y="448"/>
                    <a:pt x="201" y="437"/>
                    <a:pt x="201" y="414"/>
                  </a:cubicBezTo>
                  <a:cubicBezTo>
                    <a:pt x="201" y="392"/>
                    <a:pt x="168" y="325"/>
                    <a:pt x="146" y="291"/>
                  </a:cubicBezTo>
                  <a:cubicBezTo>
                    <a:pt x="112" y="257"/>
                    <a:pt x="78" y="201"/>
                    <a:pt x="45" y="168"/>
                  </a:cubicBezTo>
                  <a:cubicBezTo>
                    <a:pt x="33" y="157"/>
                    <a:pt x="33" y="146"/>
                    <a:pt x="22" y="134"/>
                  </a:cubicBezTo>
                  <a:cubicBezTo>
                    <a:pt x="11" y="112"/>
                    <a:pt x="0" y="78"/>
                    <a:pt x="11" y="44"/>
                  </a:cubicBezTo>
                  <a:cubicBezTo>
                    <a:pt x="22" y="22"/>
                    <a:pt x="45" y="0"/>
                    <a:pt x="67" y="0"/>
                  </a:cubicBezTo>
                  <a:cubicBezTo>
                    <a:pt x="67" y="0"/>
                    <a:pt x="67" y="0"/>
                    <a:pt x="78" y="0"/>
                  </a:cubicBezTo>
                  <a:cubicBezTo>
                    <a:pt x="112" y="0"/>
                    <a:pt x="134" y="33"/>
                    <a:pt x="157" y="78"/>
                  </a:cubicBezTo>
                  <a:cubicBezTo>
                    <a:pt x="157" y="78"/>
                    <a:pt x="157" y="89"/>
                    <a:pt x="168" y="101"/>
                  </a:cubicBezTo>
                  <a:cubicBezTo>
                    <a:pt x="168" y="101"/>
                    <a:pt x="190" y="146"/>
                    <a:pt x="179" y="190"/>
                  </a:cubicBezTo>
                  <a:lnTo>
                    <a:pt x="179" y="201"/>
                  </a:lnTo>
                  <a:lnTo>
                    <a:pt x="190" y="201"/>
                  </a:lnTo>
                  <a:cubicBezTo>
                    <a:pt x="201" y="190"/>
                    <a:pt x="213" y="190"/>
                    <a:pt x="224" y="190"/>
                  </a:cubicBezTo>
                  <a:cubicBezTo>
                    <a:pt x="246" y="190"/>
                    <a:pt x="246" y="201"/>
                    <a:pt x="257" y="201"/>
                  </a:cubicBezTo>
                  <a:cubicBezTo>
                    <a:pt x="269" y="213"/>
                    <a:pt x="269" y="224"/>
                    <a:pt x="269" y="246"/>
                  </a:cubicBezTo>
                  <a:cubicBezTo>
                    <a:pt x="269" y="257"/>
                    <a:pt x="269" y="269"/>
                    <a:pt x="257" y="280"/>
                  </a:cubicBezTo>
                  <a:cubicBezTo>
                    <a:pt x="257" y="302"/>
                    <a:pt x="257" y="336"/>
                    <a:pt x="257" y="358"/>
                  </a:cubicBezTo>
                  <a:cubicBezTo>
                    <a:pt x="269" y="392"/>
                    <a:pt x="269" y="414"/>
                    <a:pt x="257" y="426"/>
                  </a:cubicBezTo>
                  <a:cubicBezTo>
                    <a:pt x="246" y="437"/>
                    <a:pt x="235" y="448"/>
                    <a:pt x="224" y="448"/>
                  </a:cubicBezTo>
                  <a:close/>
                  <a:moveTo>
                    <a:pt x="146" y="235"/>
                  </a:moveTo>
                  <a:lnTo>
                    <a:pt x="146" y="235"/>
                  </a:lnTo>
                  <a:cubicBezTo>
                    <a:pt x="157" y="246"/>
                    <a:pt x="168" y="257"/>
                    <a:pt x="168" y="257"/>
                  </a:cubicBezTo>
                  <a:cubicBezTo>
                    <a:pt x="190" y="280"/>
                    <a:pt x="201" y="302"/>
                    <a:pt x="213" y="325"/>
                  </a:cubicBezTo>
                  <a:cubicBezTo>
                    <a:pt x="213" y="302"/>
                    <a:pt x="213" y="291"/>
                    <a:pt x="224" y="269"/>
                  </a:cubicBezTo>
                  <a:cubicBezTo>
                    <a:pt x="224" y="257"/>
                    <a:pt x="224" y="257"/>
                    <a:pt x="224" y="246"/>
                  </a:cubicBezTo>
                  <a:lnTo>
                    <a:pt x="224" y="235"/>
                  </a:lnTo>
                  <a:cubicBezTo>
                    <a:pt x="224" y="235"/>
                    <a:pt x="213" y="235"/>
                    <a:pt x="213" y="246"/>
                  </a:cubicBezTo>
                  <a:cubicBezTo>
                    <a:pt x="179" y="246"/>
                    <a:pt x="168" y="246"/>
                    <a:pt x="146" y="235"/>
                  </a:cubicBezTo>
                  <a:close/>
                  <a:moveTo>
                    <a:pt x="78" y="44"/>
                  </a:moveTo>
                  <a:lnTo>
                    <a:pt x="78" y="44"/>
                  </a:lnTo>
                  <a:cubicBezTo>
                    <a:pt x="67" y="44"/>
                    <a:pt x="56" y="44"/>
                    <a:pt x="56" y="67"/>
                  </a:cubicBezTo>
                  <a:cubicBezTo>
                    <a:pt x="45" y="67"/>
                    <a:pt x="45" y="89"/>
                    <a:pt x="56" y="112"/>
                  </a:cubicBezTo>
                  <a:cubicBezTo>
                    <a:pt x="67" y="123"/>
                    <a:pt x="78" y="123"/>
                    <a:pt x="78" y="134"/>
                  </a:cubicBezTo>
                  <a:cubicBezTo>
                    <a:pt x="101" y="168"/>
                    <a:pt x="123" y="190"/>
                    <a:pt x="146" y="224"/>
                  </a:cubicBezTo>
                  <a:cubicBezTo>
                    <a:pt x="134" y="213"/>
                    <a:pt x="134" y="190"/>
                    <a:pt x="134" y="179"/>
                  </a:cubicBezTo>
                  <a:cubicBezTo>
                    <a:pt x="146" y="146"/>
                    <a:pt x="123" y="123"/>
                    <a:pt x="123" y="123"/>
                  </a:cubicBezTo>
                  <a:lnTo>
                    <a:pt x="123" y="123"/>
                  </a:lnTo>
                  <a:cubicBezTo>
                    <a:pt x="123" y="112"/>
                    <a:pt x="123" y="101"/>
                    <a:pt x="112" y="101"/>
                  </a:cubicBezTo>
                  <a:cubicBezTo>
                    <a:pt x="101" y="78"/>
                    <a:pt x="90" y="44"/>
                    <a:pt x="78" y="44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" name="Freeform 105"/>
            <p:cNvSpPr>
              <a:spLocks noChangeArrowheads="1"/>
            </p:cNvSpPr>
            <p:nvPr/>
          </p:nvSpPr>
          <p:spPr bwMode="auto">
            <a:xfrm>
              <a:off x="3559212" y="2572755"/>
              <a:ext cx="50445" cy="62699"/>
            </a:xfrm>
            <a:custGeom>
              <a:avLst/>
              <a:gdLst>
                <a:gd name="T0" fmla="*/ 100 w 146"/>
                <a:gd name="T1" fmla="*/ 67 h 180"/>
                <a:gd name="T2" fmla="*/ 100 w 146"/>
                <a:gd name="T3" fmla="*/ 67 h 180"/>
                <a:gd name="T4" fmla="*/ 45 w 146"/>
                <a:gd name="T5" fmla="*/ 23 h 180"/>
                <a:gd name="T6" fmla="*/ 0 w 146"/>
                <a:gd name="T7" fmla="*/ 23 h 180"/>
                <a:gd name="T8" fmla="*/ 56 w 146"/>
                <a:gd name="T9" fmla="*/ 112 h 180"/>
                <a:gd name="T10" fmla="*/ 123 w 146"/>
                <a:gd name="T11" fmla="*/ 157 h 180"/>
                <a:gd name="T12" fmla="*/ 100 w 146"/>
                <a:gd name="T13" fmla="*/ 6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80">
                  <a:moveTo>
                    <a:pt x="100" y="67"/>
                  </a:moveTo>
                  <a:lnTo>
                    <a:pt x="100" y="67"/>
                  </a:lnTo>
                  <a:cubicBezTo>
                    <a:pt x="78" y="56"/>
                    <a:pt x="56" y="45"/>
                    <a:pt x="45" y="23"/>
                  </a:cubicBezTo>
                  <a:cubicBezTo>
                    <a:pt x="33" y="11"/>
                    <a:pt x="0" y="0"/>
                    <a:pt x="0" y="23"/>
                  </a:cubicBezTo>
                  <a:cubicBezTo>
                    <a:pt x="0" y="45"/>
                    <a:pt x="56" y="67"/>
                    <a:pt x="56" y="112"/>
                  </a:cubicBezTo>
                  <a:cubicBezTo>
                    <a:pt x="67" y="157"/>
                    <a:pt x="100" y="179"/>
                    <a:pt x="123" y="157"/>
                  </a:cubicBezTo>
                  <a:cubicBezTo>
                    <a:pt x="145" y="134"/>
                    <a:pt x="112" y="79"/>
                    <a:pt x="100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" name="Freeform 106"/>
            <p:cNvSpPr>
              <a:spLocks noChangeArrowheads="1"/>
            </p:cNvSpPr>
            <p:nvPr/>
          </p:nvSpPr>
          <p:spPr bwMode="auto">
            <a:xfrm>
              <a:off x="3551569" y="2568168"/>
              <a:ext cx="62675" cy="65757"/>
            </a:xfrm>
            <a:custGeom>
              <a:avLst/>
              <a:gdLst>
                <a:gd name="T0" fmla="*/ 123 w 180"/>
                <a:gd name="T1" fmla="*/ 190 h 191"/>
                <a:gd name="T2" fmla="*/ 123 w 180"/>
                <a:gd name="T3" fmla="*/ 190 h 191"/>
                <a:gd name="T4" fmla="*/ 123 w 180"/>
                <a:gd name="T5" fmla="*/ 190 h 191"/>
                <a:gd name="T6" fmla="*/ 56 w 180"/>
                <a:gd name="T7" fmla="*/ 123 h 191"/>
                <a:gd name="T8" fmla="*/ 34 w 180"/>
                <a:gd name="T9" fmla="*/ 78 h 191"/>
                <a:gd name="T10" fmla="*/ 0 w 180"/>
                <a:gd name="T11" fmla="*/ 34 h 191"/>
                <a:gd name="T12" fmla="*/ 12 w 180"/>
                <a:gd name="T13" fmla="*/ 11 h 191"/>
                <a:gd name="T14" fmla="*/ 45 w 180"/>
                <a:gd name="T15" fmla="*/ 0 h 191"/>
                <a:gd name="T16" fmla="*/ 90 w 180"/>
                <a:gd name="T17" fmla="*/ 22 h 191"/>
                <a:gd name="T18" fmla="*/ 135 w 180"/>
                <a:gd name="T19" fmla="*/ 67 h 191"/>
                <a:gd name="T20" fmla="*/ 179 w 180"/>
                <a:gd name="T21" fmla="*/ 134 h 191"/>
                <a:gd name="T22" fmla="*/ 157 w 180"/>
                <a:gd name="T23" fmla="*/ 179 h 191"/>
                <a:gd name="T24" fmla="*/ 123 w 180"/>
                <a:gd name="T25" fmla="*/ 190 h 191"/>
                <a:gd name="T26" fmla="*/ 101 w 180"/>
                <a:gd name="T27" fmla="*/ 90 h 191"/>
                <a:gd name="T28" fmla="*/ 101 w 180"/>
                <a:gd name="T29" fmla="*/ 90 h 191"/>
                <a:gd name="T30" fmla="*/ 101 w 180"/>
                <a:gd name="T31" fmla="*/ 123 h 191"/>
                <a:gd name="T32" fmla="*/ 123 w 180"/>
                <a:gd name="T33" fmla="*/ 157 h 191"/>
                <a:gd name="T34" fmla="*/ 135 w 180"/>
                <a:gd name="T35" fmla="*/ 145 h 191"/>
                <a:gd name="T36" fmla="*/ 135 w 180"/>
                <a:gd name="T37" fmla="*/ 145 h 191"/>
                <a:gd name="T38" fmla="*/ 112 w 180"/>
                <a:gd name="T39" fmla="*/ 101 h 191"/>
                <a:gd name="T40" fmla="*/ 101 w 180"/>
                <a:gd name="T41" fmla="*/ 9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0" h="191">
                  <a:moveTo>
                    <a:pt x="123" y="190"/>
                  </a:moveTo>
                  <a:lnTo>
                    <a:pt x="123" y="190"/>
                  </a:lnTo>
                  <a:lnTo>
                    <a:pt x="123" y="190"/>
                  </a:lnTo>
                  <a:cubicBezTo>
                    <a:pt x="90" y="190"/>
                    <a:pt x="68" y="168"/>
                    <a:pt x="56" y="123"/>
                  </a:cubicBezTo>
                  <a:cubicBezTo>
                    <a:pt x="56" y="112"/>
                    <a:pt x="45" y="90"/>
                    <a:pt x="34" y="78"/>
                  </a:cubicBezTo>
                  <a:cubicBezTo>
                    <a:pt x="23" y="67"/>
                    <a:pt x="0" y="56"/>
                    <a:pt x="0" y="34"/>
                  </a:cubicBezTo>
                  <a:cubicBezTo>
                    <a:pt x="0" y="34"/>
                    <a:pt x="0" y="22"/>
                    <a:pt x="12" y="11"/>
                  </a:cubicBezTo>
                  <a:cubicBezTo>
                    <a:pt x="23" y="0"/>
                    <a:pt x="23" y="0"/>
                    <a:pt x="45" y="0"/>
                  </a:cubicBezTo>
                  <a:cubicBezTo>
                    <a:pt x="56" y="0"/>
                    <a:pt x="79" y="11"/>
                    <a:pt x="90" y="22"/>
                  </a:cubicBezTo>
                  <a:cubicBezTo>
                    <a:pt x="101" y="34"/>
                    <a:pt x="112" y="56"/>
                    <a:pt x="135" y="67"/>
                  </a:cubicBezTo>
                  <a:cubicBezTo>
                    <a:pt x="157" y="67"/>
                    <a:pt x="168" y="112"/>
                    <a:pt x="179" y="134"/>
                  </a:cubicBezTo>
                  <a:cubicBezTo>
                    <a:pt x="179" y="157"/>
                    <a:pt x="168" y="168"/>
                    <a:pt x="157" y="179"/>
                  </a:cubicBezTo>
                  <a:cubicBezTo>
                    <a:pt x="146" y="190"/>
                    <a:pt x="135" y="190"/>
                    <a:pt x="123" y="190"/>
                  </a:cubicBezTo>
                  <a:close/>
                  <a:moveTo>
                    <a:pt x="101" y="90"/>
                  </a:moveTo>
                  <a:lnTo>
                    <a:pt x="101" y="90"/>
                  </a:lnTo>
                  <a:cubicBezTo>
                    <a:pt x="101" y="101"/>
                    <a:pt x="101" y="112"/>
                    <a:pt x="101" y="123"/>
                  </a:cubicBezTo>
                  <a:cubicBezTo>
                    <a:pt x="112" y="145"/>
                    <a:pt x="123" y="157"/>
                    <a:pt x="123" y="157"/>
                  </a:cubicBezTo>
                  <a:cubicBezTo>
                    <a:pt x="123" y="157"/>
                    <a:pt x="123" y="157"/>
                    <a:pt x="135" y="145"/>
                  </a:cubicBezTo>
                  <a:lnTo>
                    <a:pt x="135" y="145"/>
                  </a:lnTo>
                  <a:cubicBezTo>
                    <a:pt x="135" y="123"/>
                    <a:pt x="123" y="101"/>
                    <a:pt x="112" y="101"/>
                  </a:cubicBezTo>
                  <a:lnTo>
                    <a:pt x="101" y="90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" name="Freeform 107"/>
            <p:cNvSpPr>
              <a:spLocks noChangeArrowheads="1"/>
            </p:cNvSpPr>
            <p:nvPr/>
          </p:nvSpPr>
          <p:spPr bwMode="auto">
            <a:xfrm>
              <a:off x="3536282" y="2532995"/>
              <a:ext cx="35159" cy="32115"/>
            </a:xfrm>
            <a:custGeom>
              <a:avLst/>
              <a:gdLst>
                <a:gd name="T0" fmla="*/ 79 w 102"/>
                <a:gd name="T1" fmla="*/ 78 h 91"/>
                <a:gd name="T2" fmla="*/ 79 w 102"/>
                <a:gd name="T3" fmla="*/ 78 h 91"/>
                <a:gd name="T4" fmla="*/ 23 w 102"/>
                <a:gd name="T5" fmla="*/ 11 h 91"/>
                <a:gd name="T6" fmla="*/ 45 w 102"/>
                <a:gd name="T7" fmla="*/ 45 h 91"/>
                <a:gd name="T8" fmla="*/ 79 w 102"/>
                <a:gd name="T9" fmla="*/ 7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91">
                  <a:moveTo>
                    <a:pt x="79" y="78"/>
                  </a:moveTo>
                  <a:lnTo>
                    <a:pt x="79" y="78"/>
                  </a:lnTo>
                  <a:cubicBezTo>
                    <a:pt x="68" y="90"/>
                    <a:pt x="0" y="22"/>
                    <a:pt x="23" y="11"/>
                  </a:cubicBezTo>
                  <a:cubicBezTo>
                    <a:pt x="45" y="0"/>
                    <a:pt x="34" y="11"/>
                    <a:pt x="45" y="45"/>
                  </a:cubicBezTo>
                  <a:cubicBezTo>
                    <a:pt x="68" y="67"/>
                    <a:pt x="101" y="56"/>
                    <a:pt x="79" y="7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" name="Freeform 108"/>
            <p:cNvSpPr>
              <a:spLocks noChangeArrowheads="1"/>
            </p:cNvSpPr>
            <p:nvPr/>
          </p:nvSpPr>
          <p:spPr bwMode="auto">
            <a:xfrm>
              <a:off x="3531697" y="2529936"/>
              <a:ext cx="42802" cy="39760"/>
            </a:xfrm>
            <a:custGeom>
              <a:avLst/>
              <a:gdLst>
                <a:gd name="T0" fmla="*/ 90 w 125"/>
                <a:gd name="T1" fmla="*/ 112 h 113"/>
                <a:gd name="T2" fmla="*/ 90 w 125"/>
                <a:gd name="T3" fmla="*/ 112 h 113"/>
                <a:gd name="T4" fmla="*/ 11 w 125"/>
                <a:gd name="T5" fmla="*/ 44 h 113"/>
                <a:gd name="T6" fmla="*/ 23 w 125"/>
                <a:gd name="T7" fmla="*/ 11 h 113"/>
                <a:gd name="T8" fmla="*/ 45 w 125"/>
                <a:gd name="T9" fmla="*/ 0 h 113"/>
                <a:gd name="T10" fmla="*/ 68 w 125"/>
                <a:gd name="T11" fmla="*/ 22 h 113"/>
                <a:gd name="T12" fmla="*/ 79 w 125"/>
                <a:gd name="T13" fmla="*/ 44 h 113"/>
                <a:gd name="T14" fmla="*/ 90 w 125"/>
                <a:gd name="T15" fmla="*/ 56 h 113"/>
                <a:gd name="T16" fmla="*/ 112 w 125"/>
                <a:gd name="T17" fmla="*/ 67 h 113"/>
                <a:gd name="T18" fmla="*/ 112 w 125"/>
                <a:gd name="T19" fmla="*/ 101 h 113"/>
                <a:gd name="T20" fmla="*/ 90 w 125"/>
                <a:gd name="T21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113">
                  <a:moveTo>
                    <a:pt x="90" y="112"/>
                  </a:moveTo>
                  <a:lnTo>
                    <a:pt x="90" y="112"/>
                  </a:lnTo>
                  <a:cubicBezTo>
                    <a:pt x="56" y="112"/>
                    <a:pt x="23" y="67"/>
                    <a:pt x="11" y="44"/>
                  </a:cubicBezTo>
                  <a:cubicBezTo>
                    <a:pt x="0" y="33"/>
                    <a:pt x="11" y="11"/>
                    <a:pt x="23" y="11"/>
                  </a:cubicBezTo>
                  <a:cubicBezTo>
                    <a:pt x="23" y="0"/>
                    <a:pt x="34" y="0"/>
                    <a:pt x="45" y="0"/>
                  </a:cubicBezTo>
                  <a:cubicBezTo>
                    <a:pt x="68" y="0"/>
                    <a:pt x="68" y="11"/>
                    <a:pt x="68" y="22"/>
                  </a:cubicBezTo>
                  <a:cubicBezTo>
                    <a:pt x="79" y="33"/>
                    <a:pt x="79" y="33"/>
                    <a:pt x="79" y="44"/>
                  </a:cubicBezTo>
                  <a:cubicBezTo>
                    <a:pt x="79" y="44"/>
                    <a:pt x="79" y="44"/>
                    <a:pt x="90" y="56"/>
                  </a:cubicBezTo>
                  <a:cubicBezTo>
                    <a:pt x="101" y="56"/>
                    <a:pt x="112" y="56"/>
                    <a:pt x="112" y="67"/>
                  </a:cubicBezTo>
                  <a:cubicBezTo>
                    <a:pt x="124" y="78"/>
                    <a:pt x="112" y="101"/>
                    <a:pt x="112" y="101"/>
                  </a:cubicBezTo>
                  <a:cubicBezTo>
                    <a:pt x="101" y="112"/>
                    <a:pt x="90" y="112"/>
                    <a:pt x="90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" name="Freeform 109"/>
            <p:cNvSpPr>
              <a:spLocks noChangeArrowheads="1"/>
            </p:cNvSpPr>
            <p:nvPr/>
          </p:nvSpPr>
          <p:spPr bwMode="auto">
            <a:xfrm>
              <a:off x="3632587" y="2580402"/>
              <a:ext cx="22929" cy="30585"/>
            </a:xfrm>
            <a:custGeom>
              <a:avLst/>
              <a:gdLst>
                <a:gd name="T0" fmla="*/ 33 w 68"/>
                <a:gd name="T1" fmla="*/ 67 h 90"/>
                <a:gd name="T2" fmla="*/ 33 w 68"/>
                <a:gd name="T3" fmla="*/ 67 h 90"/>
                <a:gd name="T4" fmla="*/ 11 w 68"/>
                <a:gd name="T5" fmla="*/ 33 h 90"/>
                <a:gd name="T6" fmla="*/ 56 w 68"/>
                <a:gd name="T7" fmla="*/ 11 h 90"/>
                <a:gd name="T8" fmla="*/ 33 w 68"/>
                <a:gd name="T9" fmla="*/ 6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90">
                  <a:moveTo>
                    <a:pt x="33" y="67"/>
                  </a:moveTo>
                  <a:lnTo>
                    <a:pt x="33" y="67"/>
                  </a:lnTo>
                  <a:cubicBezTo>
                    <a:pt x="22" y="89"/>
                    <a:pt x="0" y="56"/>
                    <a:pt x="11" y="33"/>
                  </a:cubicBezTo>
                  <a:cubicBezTo>
                    <a:pt x="11" y="11"/>
                    <a:pt x="33" y="0"/>
                    <a:pt x="56" y="11"/>
                  </a:cubicBezTo>
                  <a:cubicBezTo>
                    <a:pt x="67" y="22"/>
                    <a:pt x="45" y="44"/>
                    <a:pt x="33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" name="Freeform 110"/>
            <p:cNvSpPr>
              <a:spLocks noChangeArrowheads="1"/>
            </p:cNvSpPr>
            <p:nvPr/>
          </p:nvSpPr>
          <p:spPr bwMode="auto">
            <a:xfrm>
              <a:off x="3624944" y="2575814"/>
              <a:ext cx="42802" cy="35173"/>
            </a:xfrm>
            <a:custGeom>
              <a:avLst/>
              <a:gdLst>
                <a:gd name="T0" fmla="*/ 45 w 124"/>
                <a:gd name="T1" fmla="*/ 101 h 102"/>
                <a:gd name="T2" fmla="*/ 45 w 124"/>
                <a:gd name="T3" fmla="*/ 101 h 102"/>
                <a:gd name="T4" fmla="*/ 11 w 124"/>
                <a:gd name="T5" fmla="*/ 90 h 102"/>
                <a:gd name="T6" fmla="*/ 11 w 124"/>
                <a:gd name="T7" fmla="*/ 45 h 102"/>
                <a:gd name="T8" fmla="*/ 68 w 124"/>
                <a:gd name="T9" fmla="*/ 0 h 102"/>
                <a:gd name="T10" fmla="*/ 90 w 124"/>
                <a:gd name="T11" fmla="*/ 0 h 102"/>
                <a:gd name="T12" fmla="*/ 90 w 124"/>
                <a:gd name="T13" fmla="*/ 79 h 102"/>
                <a:gd name="T14" fmla="*/ 79 w 124"/>
                <a:gd name="T15" fmla="*/ 90 h 102"/>
                <a:gd name="T16" fmla="*/ 45 w 124"/>
                <a:gd name="T17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102">
                  <a:moveTo>
                    <a:pt x="45" y="101"/>
                  </a:moveTo>
                  <a:lnTo>
                    <a:pt x="45" y="101"/>
                  </a:lnTo>
                  <a:cubicBezTo>
                    <a:pt x="34" y="101"/>
                    <a:pt x="23" y="101"/>
                    <a:pt x="11" y="90"/>
                  </a:cubicBezTo>
                  <a:cubicBezTo>
                    <a:pt x="0" y="68"/>
                    <a:pt x="0" y="56"/>
                    <a:pt x="11" y="45"/>
                  </a:cubicBezTo>
                  <a:cubicBezTo>
                    <a:pt x="11" y="23"/>
                    <a:pt x="34" y="0"/>
                    <a:pt x="68" y="0"/>
                  </a:cubicBezTo>
                  <a:cubicBezTo>
                    <a:pt x="68" y="0"/>
                    <a:pt x="79" y="0"/>
                    <a:pt x="90" y="0"/>
                  </a:cubicBezTo>
                  <a:cubicBezTo>
                    <a:pt x="123" y="34"/>
                    <a:pt x="101" y="68"/>
                    <a:pt x="90" y="79"/>
                  </a:cubicBezTo>
                  <a:cubicBezTo>
                    <a:pt x="79" y="79"/>
                    <a:pt x="79" y="79"/>
                    <a:pt x="79" y="90"/>
                  </a:cubicBezTo>
                  <a:cubicBezTo>
                    <a:pt x="79" y="101"/>
                    <a:pt x="68" y="101"/>
                    <a:pt x="45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" name="Freeform 111"/>
            <p:cNvSpPr>
              <a:spLocks noChangeArrowheads="1"/>
            </p:cNvSpPr>
            <p:nvPr/>
          </p:nvSpPr>
          <p:spPr bwMode="auto">
            <a:xfrm>
              <a:off x="3660103" y="2479472"/>
              <a:ext cx="62674" cy="120810"/>
            </a:xfrm>
            <a:custGeom>
              <a:avLst/>
              <a:gdLst>
                <a:gd name="T0" fmla="*/ 146 w 180"/>
                <a:gd name="T1" fmla="*/ 101 h 349"/>
                <a:gd name="T2" fmla="*/ 146 w 180"/>
                <a:gd name="T3" fmla="*/ 101 h 349"/>
                <a:gd name="T4" fmla="*/ 134 w 180"/>
                <a:gd name="T5" fmla="*/ 45 h 349"/>
                <a:gd name="T6" fmla="*/ 78 w 180"/>
                <a:gd name="T7" fmla="*/ 0 h 349"/>
                <a:gd name="T8" fmla="*/ 45 w 180"/>
                <a:gd name="T9" fmla="*/ 45 h 349"/>
                <a:gd name="T10" fmla="*/ 45 w 180"/>
                <a:gd name="T11" fmla="*/ 112 h 349"/>
                <a:gd name="T12" fmla="*/ 34 w 180"/>
                <a:gd name="T13" fmla="*/ 202 h 349"/>
                <a:gd name="T14" fmla="*/ 11 w 180"/>
                <a:gd name="T15" fmla="*/ 235 h 349"/>
                <a:gd name="T16" fmla="*/ 90 w 180"/>
                <a:gd name="T17" fmla="*/ 269 h 349"/>
                <a:gd name="T18" fmla="*/ 134 w 180"/>
                <a:gd name="T19" fmla="*/ 314 h 349"/>
                <a:gd name="T20" fmla="*/ 157 w 180"/>
                <a:gd name="T21" fmla="*/ 190 h 349"/>
                <a:gd name="T22" fmla="*/ 146 w 180"/>
                <a:gd name="T23" fmla="*/ 101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349">
                  <a:moveTo>
                    <a:pt x="146" y="101"/>
                  </a:moveTo>
                  <a:lnTo>
                    <a:pt x="146" y="101"/>
                  </a:lnTo>
                  <a:cubicBezTo>
                    <a:pt x="134" y="79"/>
                    <a:pt x="123" y="79"/>
                    <a:pt x="134" y="45"/>
                  </a:cubicBezTo>
                  <a:cubicBezTo>
                    <a:pt x="134" y="0"/>
                    <a:pt x="134" y="0"/>
                    <a:pt x="78" y="0"/>
                  </a:cubicBezTo>
                  <a:cubicBezTo>
                    <a:pt x="34" y="0"/>
                    <a:pt x="34" y="23"/>
                    <a:pt x="45" y="45"/>
                  </a:cubicBezTo>
                  <a:cubicBezTo>
                    <a:pt x="67" y="79"/>
                    <a:pt x="22" y="79"/>
                    <a:pt x="45" y="112"/>
                  </a:cubicBezTo>
                  <a:cubicBezTo>
                    <a:pt x="56" y="135"/>
                    <a:pt x="56" y="213"/>
                    <a:pt x="34" y="202"/>
                  </a:cubicBezTo>
                  <a:cubicBezTo>
                    <a:pt x="0" y="190"/>
                    <a:pt x="11" y="224"/>
                    <a:pt x="11" y="235"/>
                  </a:cubicBezTo>
                  <a:cubicBezTo>
                    <a:pt x="22" y="247"/>
                    <a:pt x="78" y="224"/>
                    <a:pt x="90" y="269"/>
                  </a:cubicBezTo>
                  <a:cubicBezTo>
                    <a:pt x="112" y="314"/>
                    <a:pt x="123" y="348"/>
                    <a:pt x="134" y="314"/>
                  </a:cubicBezTo>
                  <a:cubicBezTo>
                    <a:pt x="146" y="269"/>
                    <a:pt x="134" y="224"/>
                    <a:pt x="157" y="190"/>
                  </a:cubicBezTo>
                  <a:cubicBezTo>
                    <a:pt x="179" y="157"/>
                    <a:pt x="168" y="135"/>
                    <a:pt x="146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" name="Freeform 112"/>
            <p:cNvSpPr>
              <a:spLocks noChangeArrowheads="1"/>
            </p:cNvSpPr>
            <p:nvPr/>
          </p:nvSpPr>
          <p:spPr bwMode="auto">
            <a:xfrm>
              <a:off x="3652459" y="2471825"/>
              <a:ext cx="82547" cy="128456"/>
            </a:xfrm>
            <a:custGeom>
              <a:avLst/>
              <a:gdLst>
                <a:gd name="T0" fmla="*/ 145 w 236"/>
                <a:gd name="T1" fmla="*/ 370 h 371"/>
                <a:gd name="T2" fmla="*/ 145 w 236"/>
                <a:gd name="T3" fmla="*/ 370 h 371"/>
                <a:gd name="T4" fmla="*/ 145 w 236"/>
                <a:gd name="T5" fmla="*/ 370 h 371"/>
                <a:gd name="T6" fmla="*/ 100 w 236"/>
                <a:gd name="T7" fmla="*/ 314 h 371"/>
                <a:gd name="T8" fmla="*/ 100 w 236"/>
                <a:gd name="T9" fmla="*/ 302 h 371"/>
                <a:gd name="T10" fmla="*/ 56 w 236"/>
                <a:gd name="T11" fmla="*/ 280 h 371"/>
                <a:gd name="T12" fmla="*/ 22 w 236"/>
                <a:gd name="T13" fmla="*/ 269 h 371"/>
                <a:gd name="T14" fmla="*/ 11 w 236"/>
                <a:gd name="T15" fmla="*/ 212 h 371"/>
                <a:gd name="T16" fmla="*/ 44 w 236"/>
                <a:gd name="T17" fmla="*/ 201 h 371"/>
                <a:gd name="T18" fmla="*/ 44 w 236"/>
                <a:gd name="T19" fmla="*/ 201 h 371"/>
                <a:gd name="T20" fmla="*/ 56 w 236"/>
                <a:gd name="T21" fmla="*/ 201 h 371"/>
                <a:gd name="T22" fmla="*/ 44 w 236"/>
                <a:gd name="T23" fmla="*/ 145 h 371"/>
                <a:gd name="T24" fmla="*/ 56 w 236"/>
                <a:gd name="T25" fmla="*/ 89 h 371"/>
                <a:gd name="T26" fmla="*/ 56 w 236"/>
                <a:gd name="T27" fmla="*/ 78 h 371"/>
                <a:gd name="T28" fmla="*/ 56 w 236"/>
                <a:gd name="T29" fmla="*/ 78 h 371"/>
                <a:gd name="T30" fmla="*/ 44 w 236"/>
                <a:gd name="T31" fmla="*/ 22 h 371"/>
                <a:gd name="T32" fmla="*/ 100 w 236"/>
                <a:gd name="T33" fmla="*/ 0 h 371"/>
                <a:gd name="T34" fmla="*/ 168 w 236"/>
                <a:gd name="T35" fmla="*/ 11 h 371"/>
                <a:gd name="T36" fmla="*/ 179 w 236"/>
                <a:gd name="T37" fmla="*/ 67 h 371"/>
                <a:gd name="T38" fmla="*/ 179 w 236"/>
                <a:gd name="T39" fmla="*/ 101 h 371"/>
                <a:gd name="T40" fmla="*/ 190 w 236"/>
                <a:gd name="T41" fmla="*/ 112 h 371"/>
                <a:gd name="T42" fmla="*/ 190 w 236"/>
                <a:gd name="T43" fmla="*/ 112 h 371"/>
                <a:gd name="T44" fmla="*/ 201 w 236"/>
                <a:gd name="T45" fmla="*/ 224 h 371"/>
                <a:gd name="T46" fmla="*/ 179 w 236"/>
                <a:gd name="T47" fmla="*/ 291 h 371"/>
                <a:gd name="T48" fmla="*/ 179 w 236"/>
                <a:gd name="T49" fmla="*/ 336 h 371"/>
                <a:gd name="T50" fmla="*/ 145 w 236"/>
                <a:gd name="T51" fmla="*/ 370 h 371"/>
                <a:gd name="T52" fmla="*/ 67 w 236"/>
                <a:gd name="T53" fmla="*/ 246 h 371"/>
                <a:gd name="T54" fmla="*/ 67 w 236"/>
                <a:gd name="T55" fmla="*/ 246 h 371"/>
                <a:gd name="T56" fmla="*/ 134 w 236"/>
                <a:gd name="T57" fmla="*/ 280 h 371"/>
                <a:gd name="T58" fmla="*/ 145 w 236"/>
                <a:gd name="T59" fmla="*/ 291 h 371"/>
                <a:gd name="T60" fmla="*/ 145 w 236"/>
                <a:gd name="T61" fmla="*/ 280 h 371"/>
                <a:gd name="T62" fmla="*/ 168 w 236"/>
                <a:gd name="T63" fmla="*/ 201 h 371"/>
                <a:gd name="T64" fmla="*/ 156 w 236"/>
                <a:gd name="T65" fmla="*/ 145 h 371"/>
                <a:gd name="T66" fmla="*/ 156 w 236"/>
                <a:gd name="T67" fmla="*/ 134 h 371"/>
                <a:gd name="T68" fmla="*/ 145 w 236"/>
                <a:gd name="T69" fmla="*/ 123 h 371"/>
                <a:gd name="T70" fmla="*/ 134 w 236"/>
                <a:gd name="T71" fmla="*/ 56 h 371"/>
                <a:gd name="T72" fmla="*/ 134 w 236"/>
                <a:gd name="T73" fmla="*/ 45 h 371"/>
                <a:gd name="T74" fmla="*/ 100 w 236"/>
                <a:gd name="T75" fmla="*/ 45 h 371"/>
                <a:gd name="T76" fmla="*/ 89 w 236"/>
                <a:gd name="T77" fmla="*/ 45 h 371"/>
                <a:gd name="T78" fmla="*/ 89 w 236"/>
                <a:gd name="T79" fmla="*/ 56 h 371"/>
                <a:gd name="T80" fmla="*/ 89 w 236"/>
                <a:gd name="T81" fmla="*/ 112 h 371"/>
                <a:gd name="T82" fmla="*/ 78 w 236"/>
                <a:gd name="T83" fmla="*/ 123 h 371"/>
                <a:gd name="T84" fmla="*/ 78 w 236"/>
                <a:gd name="T85" fmla="*/ 123 h 371"/>
                <a:gd name="T86" fmla="*/ 89 w 236"/>
                <a:gd name="T87" fmla="*/ 224 h 371"/>
                <a:gd name="T88" fmla="*/ 67 w 236"/>
                <a:gd name="T89" fmla="*/ 246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6" h="371">
                  <a:moveTo>
                    <a:pt x="145" y="370"/>
                  </a:moveTo>
                  <a:lnTo>
                    <a:pt x="145" y="370"/>
                  </a:lnTo>
                  <a:lnTo>
                    <a:pt x="145" y="370"/>
                  </a:lnTo>
                  <a:cubicBezTo>
                    <a:pt x="123" y="370"/>
                    <a:pt x="112" y="347"/>
                    <a:pt x="100" y="314"/>
                  </a:cubicBezTo>
                  <a:lnTo>
                    <a:pt x="100" y="302"/>
                  </a:lnTo>
                  <a:cubicBezTo>
                    <a:pt x="89" y="291"/>
                    <a:pt x="78" y="291"/>
                    <a:pt x="56" y="280"/>
                  </a:cubicBezTo>
                  <a:cubicBezTo>
                    <a:pt x="44" y="280"/>
                    <a:pt x="22" y="280"/>
                    <a:pt x="22" y="269"/>
                  </a:cubicBezTo>
                  <a:cubicBezTo>
                    <a:pt x="11" y="246"/>
                    <a:pt x="0" y="224"/>
                    <a:pt x="11" y="212"/>
                  </a:cubicBezTo>
                  <a:cubicBezTo>
                    <a:pt x="22" y="201"/>
                    <a:pt x="33" y="201"/>
                    <a:pt x="44" y="201"/>
                  </a:cubicBezTo>
                  <a:lnTo>
                    <a:pt x="44" y="201"/>
                  </a:lnTo>
                  <a:cubicBezTo>
                    <a:pt x="44" y="201"/>
                    <a:pt x="44" y="201"/>
                    <a:pt x="56" y="201"/>
                  </a:cubicBezTo>
                  <a:cubicBezTo>
                    <a:pt x="56" y="190"/>
                    <a:pt x="56" y="157"/>
                    <a:pt x="44" y="145"/>
                  </a:cubicBezTo>
                  <a:cubicBezTo>
                    <a:pt x="33" y="112"/>
                    <a:pt x="44" y="101"/>
                    <a:pt x="56" y="89"/>
                  </a:cubicBezTo>
                  <a:cubicBezTo>
                    <a:pt x="56" y="89"/>
                    <a:pt x="56" y="89"/>
                    <a:pt x="56" y="78"/>
                  </a:cubicBezTo>
                  <a:lnTo>
                    <a:pt x="56" y="78"/>
                  </a:lnTo>
                  <a:cubicBezTo>
                    <a:pt x="33" y="56"/>
                    <a:pt x="44" y="33"/>
                    <a:pt x="44" y="22"/>
                  </a:cubicBezTo>
                  <a:cubicBezTo>
                    <a:pt x="56" y="0"/>
                    <a:pt x="78" y="0"/>
                    <a:pt x="100" y="0"/>
                  </a:cubicBezTo>
                  <a:cubicBezTo>
                    <a:pt x="134" y="0"/>
                    <a:pt x="156" y="0"/>
                    <a:pt x="168" y="11"/>
                  </a:cubicBezTo>
                  <a:cubicBezTo>
                    <a:pt x="179" y="22"/>
                    <a:pt x="179" y="45"/>
                    <a:pt x="179" y="67"/>
                  </a:cubicBezTo>
                  <a:cubicBezTo>
                    <a:pt x="168" y="89"/>
                    <a:pt x="168" y="89"/>
                    <a:pt x="179" y="101"/>
                  </a:cubicBezTo>
                  <a:cubicBezTo>
                    <a:pt x="179" y="101"/>
                    <a:pt x="190" y="101"/>
                    <a:pt x="190" y="112"/>
                  </a:cubicBezTo>
                  <a:lnTo>
                    <a:pt x="190" y="112"/>
                  </a:lnTo>
                  <a:cubicBezTo>
                    <a:pt x="213" y="145"/>
                    <a:pt x="235" y="179"/>
                    <a:pt x="201" y="224"/>
                  </a:cubicBezTo>
                  <a:cubicBezTo>
                    <a:pt x="190" y="235"/>
                    <a:pt x="190" y="269"/>
                    <a:pt x="179" y="291"/>
                  </a:cubicBezTo>
                  <a:cubicBezTo>
                    <a:pt x="179" y="302"/>
                    <a:pt x="179" y="325"/>
                    <a:pt x="179" y="336"/>
                  </a:cubicBezTo>
                  <a:cubicBezTo>
                    <a:pt x="179" y="347"/>
                    <a:pt x="168" y="370"/>
                    <a:pt x="145" y="370"/>
                  </a:cubicBezTo>
                  <a:close/>
                  <a:moveTo>
                    <a:pt x="67" y="246"/>
                  </a:moveTo>
                  <a:lnTo>
                    <a:pt x="67" y="246"/>
                  </a:lnTo>
                  <a:cubicBezTo>
                    <a:pt x="89" y="246"/>
                    <a:pt x="123" y="246"/>
                    <a:pt x="134" y="280"/>
                  </a:cubicBezTo>
                  <a:cubicBezTo>
                    <a:pt x="134" y="280"/>
                    <a:pt x="134" y="291"/>
                    <a:pt x="145" y="291"/>
                  </a:cubicBezTo>
                  <a:cubicBezTo>
                    <a:pt x="145" y="291"/>
                    <a:pt x="145" y="291"/>
                    <a:pt x="145" y="280"/>
                  </a:cubicBezTo>
                  <a:cubicBezTo>
                    <a:pt x="145" y="257"/>
                    <a:pt x="145" y="224"/>
                    <a:pt x="168" y="201"/>
                  </a:cubicBezTo>
                  <a:cubicBezTo>
                    <a:pt x="179" y="179"/>
                    <a:pt x="179" y="168"/>
                    <a:pt x="156" y="145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45" y="134"/>
                    <a:pt x="145" y="123"/>
                    <a:pt x="145" y="123"/>
                  </a:cubicBezTo>
                  <a:cubicBezTo>
                    <a:pt x="134" y="112"/>
                    <a:pt x="123" y="101"/>
                    <a:pt x="134" y="56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23" y="45"/>
                    <a:pt x="112" y="45"/>
                    <a:pt x="100" y="45"/>
                  </a:cubicBezTo>
                  <a:cubicBezTo>
                    <a:pt x="89" y="45"/>
                    <a:pt x="89" y="45"/>
                    <a:pt x="89" y="45"/>
                  </a:cubicBezTo>
                  <a:lnTo>
                    <a:pt x="89" y="56"/>
                  </a:lnTo>
                  <a:cubicBezTo>
                    <a:pt x="112" y="89"/>
                    <a:pt x="89" y="112"/>
                    <a:pt x="89" y="112"/>
                  </a:cubicBezTo>
                  <a:cubicBezTo>
                    <a:pt x="78" y="112"/>
                    <a:pt x="78" y="123"/>
                    <a:pt x="78" y="123"/>
                  </a:cubicBezTo>
                  <a:lnTo>
                    <a:pt x="78" y="123"/>
                  </a:lnTo>
                  <a:cubicBezTo>
                    <a:pt x="89" y="145"/>
                    <a:pt x="100" y="201"/>
                    <a:pt x="89" y="224"/>
                  </a:cubicBezTo>
                  <a:cubicBezTo>
                    <a:pt x="78" y="235"/>
                    <a:pt x="78" y="235"/>
                    <a:pt x="67" y="246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" name="Freeform 113"/>
            <p:cNvSpPr>
              <a:spLocks noChangeArrowheads="1"/>
            </p:cNvSpPr>
            <p:nvPr/>
          </p:nvSpPr>
          <p:spPr bwMode="auto">
            <a:xfrm>
              <a:off x="4685824" y="3710512"/>
              <a:ext cx="35159" cy="42819"/>
            </a:xfrm>
            <a:custGeom>
              <a:avLst/>
              <a:gdLst>
                <a:gd name="T0" fmla="*/ 89 w 102"/>
                <a:gd name="T1" fmla="*/ 102 h 125"/>
                <a:gd name="T2" fmla="*/ 89 w 102"/>
                <a:gd name="T3" fmla="*/ 102 h 125"/>
                <a:gd name="T4" fmla="*/ 67 w 102"/>
                <a:gd name="T5" fmla="*/ 57 h 125"/>
                <a:gd name="T6" fmla="*/ 11 w 102"/>
                <a:gd name="T7" fmla="*/ 23 h 125"/>
                <a:gd name="T8" fmla="*/ 22 w 102"/>
                <a:gd name="T9" fmla="*/ 68 h 125"/>
                <a:gd name="T10" fmla="*/ 89 w 102"/>
                <a:gd name="T11" fmla="*/ 10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25">
                  <a:moveTo>
                    <a:pt x="89" y="102"/>
                  </a:moveTo>
                  <a:lnTo>
                    <a:pt x="89" y="102"/>
                  </a:lnTo>
                  <a:cubicBezTo>
                    <a:pt x="101" y="79"/>
                    <a:pt x="89" y="68"/>
                    <a:pt x="67" y="57"/>
                  </a:cubicBezTo>
                  <a:cubicBezTo>
                    <a:pt x="44" y="45"/>
                    <a:pt x="33" y="0"/>
                    <a:pt x="11" y="23"/>
                  </a:cubicBezTo>
                  <a:cubicBezTo>
                    <a:pt x="0" y="45"/>
                    <a:pt x="0" y="68"/>
                    <a:pt x="22" y="68"/>
                  </a:cubicBezTo>
                  <a:cubicBezTo>
                    <a:pt x="56" y="68"/>
                    <a:pt x="89" y="124"/>
                    <a:pt x="89" y="10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" name="Freeform 114"/>
            <p:cNvSpPr>
              <a:spLocks noChangeArrowheads="1"/>
            </p:cNvSpPr>
            <p:nvPr/>
          </p:nvSpPr>
          <p:spPr bwMode="auto">
            <a:xfrm>
              <a:off x="4678181" y="3710512"/>
              <a:ext cx="50445" cy="42819"/>
            </a:xfrm>
            <a:custGeom>
              <a:avLst/>
              <a:gdLst>
                <a:gd name="T0" fmla="*/ 112 w 147"/>
                <a:gd name="T1" fmla="*/ 124 h 125"/>
                <a:gd name="T2" fmla="*/ 112 w 147"/>
                <a:gd name="T3" fmla="*/ 124 h 125"/>
                <a:gd name="T4" fmla="*/ 112 w 147"/>
                <a:gd name="T5" fmla="*/ 124 h 125"/>
                <a:gd name="T6" fmla="*/ 67 w 147"/>
                <a:gd name="T7" fmla="*/ 113 h 125"/>
                <a:gd name="T8" fmla="*/ 45 w 147"/>
                <a:gd name="T9" fmla="*/ 90 h 125"/>
                <a:gd name="T10" fmla="*/ 0 w 147"/>
                <a:gd name="T11" fmla="*/ 57 h 125"/>
                <a:gd name="T12" fmla="*/ 23 w 147"/>
                <a:gd name="T13" fmla="*/ 12 h 125"/>
                <a:gd name="T14" fmla="*/ 45 w 147"/>
                <a:gd name="T15" fmla="*/ 0 h 125"/>
                <a:gd name="T16" fmla="*/ 90 w 147"/>
                <a:gd name="T17" fmla="*/ 23 h 125"/>
                <a:gd name="T18" fmla="*/ 101 w 147"/>
                <a:gd name="T19" fmla="*/ 45 h 125"/>
                <a:gd name="T20" fmla="*/ 135 w 147"/>
                <a:gd name="T21" fmla="*/ 102 h 125"/>
                <a:gd name="T22" fmla="*/ 112 w 147"/>
                <a:gd name="T23" fmla="*/ 124 h 125"/>
                <a:gd name="T24" fmla="*/ 45 w 147"/>
                <a:gd name="T25" fmla="*/ 45 h 125"/>
                <a:gd name="T26" fmla="*/ 45 w 147"/>
                <a:gd name="T27" fmla="*/ 45 h 125"/>
                <a:gd name="T28" fmla="*/ 56 w 147"/>
                <a:gd name="T29" fmla="*/ 45 h 125"/>
                <a:gd name="T30" fmla="*/ 56 w 147"/>
                <a:gd name="T31" fmla="*/ 45 h 125"/>
                <a:gd name="T32" fmla="*/ 45 w 147"/>
                <a:gd name="T33" fmla="*/ 4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125">
                  <a:moveTo>
                    <a:pt x="112" y="124"/>
                  </a:moveTo>
                  <a:lnTo>
                    <a:pt x="112" y="124"/>
                  </a:lnTo>
                  <a:lnTo>
                    <a:pt x="112" y="124"/>
                  </a:lnTo>
                  <a:cubicBezTo>
                    <a:pt x="90" y="124"/>
                    <a:pt x="79" y="124"/>
                    <a:pt x="67" y="113"/>
                  </a:cubicBezTo>
                  <a:cubicBezTo>
                    <a:pt x="67" y="102"/>
                    <a:pt x="56" y="90"/>
                    <a:pt x="45" y="90"/>
                  </a:cubicBezTo>
                  <a:cubicBezTo>
                    <a:pt x="23" y="90"/>
                    <a:pt x="11" y="68"/>
                    <a:pt x="0" y="57"/>
                  </a:cubicBezTo>
                  <a:cubicBezTo>
                    <a:pt x="0" y="57"/>
                    <a:pt x="0" y="34"/>
                    <a:pt x="23" y="12"/>
                  </a:cubicBezTo>
                  <a:cubicBezTo>
                    <a:pt x="34" y="0"/>
                    <a:pt x="45" y="0"/>
                    <a:pt x="45" y="0"/>
                  </a:cubicBezTo>
                  <a:cubicBezTo>
                    <a:pt x="67" y="0"/>
                    <a:pt x="79" y="12"/>
                    <a:pt x="90" y="23"/>
                  </a:cubicBezTo>
                  <a:cubicBezTo>
                    <a:pt x="101" y="34"/>
                    <a:pt x="101" y="34"/>
                    <a:pt x="101" y="45"/>
                  </a:cubicBezTo>
                  <a:cubicBezTo>
                    <a:pt x="124" y="57"/>
                    <a:pt x="146" y="79"/>
                    <a:pt x="135" y="102"/>
                  </a:cubicBezTo>
                  <a:cubicBezTo>
                    <a:pt x="135" y="124"/>
                    <a:pt x="112" y="124"/>
                    <a:pt x="112" y="124"/>
                  </a:cubicBezTo>
                  <a:close/>
                  <a:moveTo>
                    <a:pt x="45" y="45"/>
                  </a:moveTo>
                  <a:lnTo>
                    <a:pt x="45" y="45"/>
                  </a:lnTo>
                  <a:cubicBezTo>
                    <a:pt x="45" y="45"/>
                    <a:pt x="45" y="45"/>
                    <a:pt x="56" y="45"/>
                  </a:cubicBezTo>
                  <a:lnTo>
                    <a:pt x="56" y="45"/>
                  </a:lnTo>
                  <a:lnTo>
                    <a:pt x="45" y="45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" name="Freeform 115"/>
            <p:cNvSpPr>
              <a:spLocks noChangeArrowheads="1"/>
            </p:cNvSpPr>
            <p:nvPr/>
          </p:nvSpPr>
          <p:spPr bwMode="auto">
            <a:xfrm>
              <a:off x="5031298" y="4320680"/>
              <a:ext cx="22930" cy="27526"/>
            </a:xfrm>
            <a:custGeom>
              <a:avLst/>
              <a:gdLst>
                <a:gd name="T0" fmla="*/ 45 w 68"/>
                <a:gd name="T1" fmla="*/ 78 h 79"/>
                <a:gd name="T2" fmla="*/ 45 w 68"/>
                <a:gd name="T3" fmla="*/ 78 h 79"/>
                <a:gd name="T4" fmla="*/ 45 w 68"/>
                <a:gd name="T5" fmla="*/ 11 h 79"/>
                <a:gd name="T6" fmla="*/ 11 w 68"/>
                <a:gd name="T7" fmla="*/ 45 h 79"/>
                <a:gd name="T8" fmla="*/ 45 w 68"/>
                <a:gd name="T9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79">
                  <a:moveTo>
                    <a:pt x="45" y="78"/>
                  </a:moveTo>
                  <a:lnTo>
                    <a:pt x="45" y="78"/>
                  </a:lnTo>
                  <a:cubicBezTo>
                    <a:pt x="56" y="56"/>
                    <a:pt x="67" y="22"/>
                    <a:pt x="45" y="11"/>
                  </a:cubicBezTo>
                  <a:cubicBezTo>
                    <a:pt x="22" y="0"/>
                    <a:pt x="0" y="22"/>
                    <a:pt x="11" y="45"/>
                  </a:cubicBezTo>
                  <a:cubicBezTo>
                    <a:pt x="22" y="67"/>
                    <a:pt x="34" y="78"/>
                    <a:pt x="45" y="7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" name="Freeform 116"/>
            <p:cNvSpPr>
              <a:spLocks noChangeArrowheads="1"/>
            </p:cNvSpPr>
            <p:nvPr/>
          </p:nvSpPr>
          <p:spPr bwMode="auto">
            <a:xfrm>
              <a:off x="5028241" y="4317622"/>
              <a:ext cx="30573" cy="39760"/>
            </a:xfrm>
            <a:custGeom>
              <a:avLst/>
              <a:gdLst>
                <a:gd name="T0" fmla="*/ 45 w 90"/>
                <a:gd name="T1" fmla="*/ 112 h 113"/>
                <a:gd name="T2" fmla="*/ 45 w 90"/>
                <a:gd name="T3" fmla="*/ 112 h 113"/>
                <a:gd name="T4" fmla="*/ 45 w 90"/>
                <a:gd name="T5" fmla="*/ 112 h 113"/>
                <a:gd name="T6" fmla="*/ 0 w 90"/>
                <a:gd name="T7" fmla="*/ 67 h 113"/>
                <a:gd name="T8" fmla="*/ 0 w 90"/>
                <a:gd name="T9" fmla="*/ 22 h 113"/>
                <a:gd name="T10" fmla="*/ 45 w 90"/>
                <a:gd name="T11" fmla="*/ 0 h 113"/>
                <a:gd name="T12" fmla="*/ 67 w 90"/>
                <a:gd name="T13" fmla="*/ 0 h 113"/>
                <a:gd name="T14" fmla="*/ 78 w 90"/>
                <a:gd name="T15" fmla="*/ 22 h 113"/>
                <a:gd name="T16" fmla="*/ 67 w 90"/>
                <a:gd name="T17" fmla="*/ 101 h 113"/>
                <a:gd name="T18" fmla="*/ 45 w 90"/>
                <a:gd name="T19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113">
                  <a:moveTo>
                    <a:pt x="45" y="112"/>
                  </a:moveTo>
                  <a:lnTo>
                    <a:pt x="45" y="112"/>
                  </a:lnTo>
                  <a:lnTo>
                    <a:pt x="45" y="112"/>
                  </a:lnTo>
                  <a:cubicBezTo>
                    <a:pt x="33" y="112"/>
                    <a:pt x="22" y="89"/>
                    <a:pt x="0" y="67"/>
                  </a:cubicBezTo>
                  <a:cubicBezTo>
                    <a:pt x="0" y="44"/>
                    <a:pt x="0" y="33"/>
                    <a:pt x="0" y="22"/>
                  </a:cubicBezTo>
                  <a:cubicBezTo>
                    <a:pt x="11" y="0"/>
                    <a:pt x="22" y="0"/>
                    <a:pt x="45" y="0"/>
                  </a:cubicBezTo>
                  <a:cubicBezTo>
                    <a:pt x="45" y="0"/>
                    <a:pt x="56" y="0"/>
                    <a:pt x="67" y="0"/>
                  </a:cubicBezTo>
                  <a:cubicBezTo>
                    <a:pt x="78" y="11"/>
                    <a:pt x="78" y="11"/>
                    <a:pt x="78" y="22"/>
                  </a:cubicBezTo>
                  <a:cubicBezTo>
                    <a:pt x="89" y="56"/>
                    <a:pt x="78" y="78"/>
                    <a:pt x="67" y="101"/>
                  </a:cubicBezTo>
                  <a:cubicBezTo>
                    <a:pt x="67" y="101"/>
                    <a:pt x="56" y="112"/>
                    <a:pt x="45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" name="Freeform 117"/>
            <p:cNvSpPr>
              <a:spLocks noChangeArrowheads="1"/>
            </p:cNvSpPr>
            <p:nvPr/>
          </p:nvSpPr>
          <p:spPr bwMode="auto">
            <a:xfrm>
              <a:off x="4844803" y="4332914"/>
              <a:ext cx="32102" cy="32114"/>
            </a:xfrm>
            <a:custGeom>
              <a:avLst/>
              <a:gdLst>
                <a:gd name="T0" fmla="*/ 67 w 91"/>
                <a:gd name="T1" fmla="*/ 90 h 91"/>
                <a:gd name="T2" fmla="*/ 67 w 91"/>
                <a:gd name="T3" fmla="*/ 90 h 91"/>
                <a:gd name="T4" fmla="*/ 67 w 91"/>
                <a:gd name="T5" fmla="*/ 34 h 91"/>
                <a:gd name="T6" fmla="*/ 22 w 91"/>
                <a:gd name="T7" fmla="*/ 23 h 91"/>
                <a:gd name="T8" fmla="*/ 67 w 91"/>
                <a:gd name="T9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67" y="90"/>
                  </a:moveTo>
                  <a:lnTo>
                    <a:pt x="67" y="90"/>
                  </a:lnTo>
                  <a:cubicBezTo>
                    <a:pt x="78" y="79"/>
                    <a:pt x="90" y="57"/>
                    <a:pt x="67" y="34"/>
                  </a:cubicBezTo>
                  <a:cubicBezTo>
                    <a:pt x="56" y="12"/>
                    <a:pt x="34" y="0"/>
                    <a:pt x="22" y="23"/>
                  </a:cubicBezTo>
                  <a:cubicBezTo>
                    <a:pt x="0" y="34"/>
                    <a:pt x="45" y="90"/>
                    <a:pt x="67" y="9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" name="Freeform 118"/>
            <p:cNvSpPr>
              <a:spLocks noChangeArrowheads="1"/>
            </p:cNvSpPr>
            <p:nvPr/>
          </p:nvSpPr>
          <p:spPr bwMode="auto">
            <a:xfrm>
              <a:off x="4841746" y="4328326"/>
              <a:ext cx="42802" cy="42819"/>
            </a:xfrm>
            <a:custGeom>
              <a:avLst/>
              <a:gdLst>
                <a:gd name="T0" fmla="*/ 67 w 124"/>
                <a:gd name="T1" fmla="*/ 124 h 125"/>
                <a:gd name="T2" fmla="*/ 67 w 124"/>
                <a:gd name="T3" fmla="*/ 124 h 125"/>
                <a:gd name="T4" fmla="*/ 67 w 124"/>
                <a:gd name="T5" fmla="*/ 124 h 125"/>
                <a:gd name="T6" fmla="*/ 11 w 124"/>
                <a:gd name="T7" fmla="*/ 68 h 125"/>
                <a:gd name="T8" fmla="*/ 11 w 124"/>
                <a:gd name="T9" fmla="*/ 11 h 125"/>
                <a:gd name="T10" fmla="*/ 45 w 124"/>
                <a:gd name="T11" fmla="*/ 0 h 125"/>
                <a:gd name="T12" fmla="*/ 101 w 124"/>
                <a:gd name="T13" fmla="*/ 23 h 125"/>
                <a:gd name="T14" fmla="*/ 112 w 124"/>
                <a:gd name="T15" fmla="*/ 90 h 125"/>
                <a:gd name="T16" fmla="*/ 78 w 124"/>
                <a:gd name="T17" fmla="*/ 124 h 125"/>
                <a:gd name="T18" fmla="*/ 67 w 124"/>
                <a:gd name="T19" fmla="*/ 124 h 125"/>
                <a:gd name="T20" fmla="*/ 45 w 124"/>
                <a:gd name="T21" fmla="*/ 45 h 125"/>
                <a:gd name="T22" fmla="*/ 45 w 124"/>
                <a:gd name="T23" fmla="*/ 45 h 125"/>
                <a:gd name="T24" fmla="*/ 67 w 124"/>
                <a:gd name="T25" fmla="*/ 79 h 125"/>
                <a:gd name="T26" fmla="*/ 67 w 124"/>
                <a:gd name="T27" fmla="*/ 56 h 125"/>
                <a:gd name="T28" fmla="*/ 56 w 124"/>
                <a:gd name="T29" fmla="*/ 45 h 125"/>
                <a:gd name="T30" fmla="*/ 45 w 124"/>
                <a:gd name="T31" fmla="*/ 4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4" h="125">
                  <a:moveTo>
                    <a:pt x="67" y="124"/>
                  </a:moveTo>
                  <a:lnTo>
                    <a:pt x="67" y="124"/>
                  </a:lnTo>
                  <a:lnTo>
                    <a:pt x="67" y="124"/>
                  </a:lnTo>
                  <a:cubicBezTo>
                    <a:pt x="45" y="124"/>
                    <a:pt x="22" y="90"/>
                    <a:pt x="11" y="68"/>
                  </a:cubicBezTo>
                  <a:cubicBezTo>
                    <a:pt x="0" y="45"/>
                    <a:pt x="0" y="34"/>
                    <a:pt x="11" y="11"/>
                  </a:cubicBezTo>
                  <a:cubicBezTo>
                    <a:pt x="22" y="0"/>
                    <a:pt x="45" y="0"/>
                    <a:pt x="45" y="0"/>
                  </a:cubicBezTo>
                  <a:cubicBezTo>
                    <a:pt x="67" y="0"/>
                    <a:pt x="89" y="11"/>
                    <a:pt x="101" y="23"/>
                  </a:cubicBezTo>
                  <a:cubicBezTo>
                    <a:pt x="112" y="45"/>
                    <a:pt x="123" y="68"/>
                    <a:pt x="112" y="90"/>
                  </a:cubicBezTo>
                  <a:cubicBezTo>
                    <a:pt x="101" y="101"/>
                    <a:pt x="89" y="113"/>
                    <a:pt x="78" y="124"/>
                  </a:cubicBezTo>
                  <a:cubicBezTo>
                    <a:pt x="78" y="124"/>
                    <a:pt x="78" y="124"/>
                    <a:pt x="67" y="124"/>
                  </a:cubicBezTo>
                  <a:close/>
                  <a:moveTo>
                    <a:pt x="45" y="45"/>
                  </a:moveTo>
                  <a:lnTo>
                    <a:pt x="45" y="45"/>
                  </a:lnTo>
                  <a:cubicBezTo>
                    <a:pt x="45" y="45"/>
                    <a:pt x="56" y="68"/>
                    <a:pt x="67" y="79"/>
                  </a:cubicBezTo>
                  <a:cubicBezTo>
                    <a:pt x="67" y="68"/>
                    <a:pt x="67" y="68"/>
                    <a:pt x="67" y="56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" name="Freeform 119"/>
            <p:cNvSpPr>
              <a:spLocks noChangeArrowheads="1"/>
            </p:cNvSpPr>
            <p:nvPr/>
          </p:nvSpPr>
          <p:spPr bwMode="auto">
            <a:xfrm>
              <a:off x="4860090" y="4371145"/>
              <a:ext cx="77961" cy="82579"/>
            </a:xfrm>
            <a:custGeom>
              <a:avLst/>
              <a:gdLst>
                <a:gd name="T0" fmla="*/ 78 w 225"/>
                <a:gd name="T1" fmla="*/ 0 h 236"/>
                <a:gd name="T2" fmla="*/ 78 w 225"/>
                <a:gd name="T3" fmla="*/ 0 h 236"/>
                <a:gd name="T4" fmla="*/ 0 w 225"/>
                <a:gd name="T5" fmla="*/ 56 h 236"/>
                <a:gd name="T6" fmla="*/ 56 w 225"/>
                <a:gd name="T7" fmla="*/ 89 h 236"/>
                <a:gd name="T8" fmla="*/ 112 w 225"/>
                <a:gd name="T9" fmla="*/ 145 h 236"/>
                <a:gd name="T10" fmla="*/ 146 w 225"/>
                <a:gd name="T11" fmla="*/ 179 h 236"/>
                <a:gd name="T12" fmla="*/ 168 w 225"/>
                <a:gd name="T13" fmla="*/ 213 h 236"/>
                <a:gd name="T14" fmla="*/ 213 w 225"/>
                <a:gd name="T15" fmla="*/ 168 h 236"/>
                <a:gd name="T16" fmla="*/ 168 w 225"/>
                <a:gd name="T17" fmla="*/ 134 h 236"/>
                <a:gd name="T18" fmla="*/ 112 w 225"/>
                <a:gd name="T19" fmla="*/ 89 h 236"/>
                <a:gd name="T20" fmla="*/ 78 w 225"/>
                <a:gd name="T21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236">
                  <a:moveTo>
                    <a:pt x="78" y="0"/>
                  </a:moveTo>
                  <a:lnTo>
                    <a:pt x="78" y="0"/>
                  </a:lnTo>
                  <a:cubicBezTo>
                    <a:pt x="45" y="11"/>
                    <a:pt x="0" y="11"/>
                    <a:pt x="0" y="56"/>
                  </a:cubicBezTo>
                  <a:cubicBezTo>
                    <a:pt x="11" y="100"/>
                    <a:pt x="45" y="100"/>
                    <a:pt x="56" y="89"/>
                  </a:cubicBezTo>
                  <a:cubicBezTo>
                    <a:pt x="78" y="89"/>
                    <a:pt x="112" y="123"/>
                    <a:pt x="112" y="145"/>
                  </a:cubicBezTo>
                  <a:cubicBezTo>
                    <a:pt x="112" y="156"/>
                    <a:pt x="112" y="190"/>
                    <a:pt x="146" y="179"/>
                  </a:cubicBezTo>
                  <a:cubicBezTo>
                    <a:pt x="168" y="168"/>
                    <a:pt x="146" y="235"/>
                    <a:pt x="168" y="213"/>
                  </a:cubicBezTo>
                  <a:cubicBezTo>
                    <a:pt x="191" y="201"/>
                    <a:pt x="224" y="179"/>
                    <a:pt x="213" y="168"/>
                  </a:cubicBezTo>
                  <a:cubicBezTo>
                    <a:pt x="191" y="168"/>
                    <a:pt x="191" y="134"/>
                    <a:pt x="168" y="134"/>
                  </a:cubicBezTo>
                  <a:cubicBezTo>
                    <a:pt x="135" y="145"/>
                    <a:pt x="112" y="112"/>
                    <a:pt x="112" y="89"/>
                  </a:cubicBezTo>
                  <a:cubicBezTo>
                    <a:pt x="123" y="56"/>
                    <a:pt x="101" y="0"/>
                    <a:pt x="78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" name="Freeform 120"/>
            <p:cNvSpPr>
              <a:spLocks noChangeArrowheads="1"/>
            </p:cNvSpPr>
            <p:nvPr/>
          </p:nvSpPr>
          <p:spPr bwMode="auto">
            <a:xfrm>
              <a:off x="4852447" y="4363499"/>
              <a:ext cx="90190" cy="90225"/>
            </a:xfrm>
            <a:custGeom>
              <a:avLst/>
              <a:gdLst>
                <a:gd name="T0" fmla="*/ 191 w 259"/>
                <a:gd name="T1" fmla="*/ 258 h 259"/>
                <a:gd name="T2" fmla="*/ 191 w 259"/>
                <a:gd name="T3" fmla="*/ 258 h 259"/>
                <a:gd name="T4" fmla="*/ 158 w 259"/>
                <a:gd name="T5" fmla="*/ 224 h 259"/>
                <a:gd name="T6" fmla="*/ 158 w 259"/>
                <a:gd name="T7" fmla="*/ 224 h 259"/>
                <a:gd name="T8" fmla="*/ 124 w 259"/>
                <a:gd name="T9" fmla="*/ 213 h 259"/>
                <a:gd name="T10" fmla="*/ 113 w 259"/>
                <a:gd name="T11" fmla="*/ 157 h 259"/>
                <a:gd name="T12" fmla="*/ 90 w 259"/>
                <a:gd name="T13" fmla="*/ 135 h 259"/>
                <a:gd name="T14" fmla="*/ 68 w 259"/>
                <a:gd name="T15" fmla="*/ 146 h 259"/>
                <a:gd name="T16" fmla="*/ 0 w 259"/>
                <a:gd name="T17" fmla="*/ 79 h 259"/>
                <a:gd name="T18" fmla="*/ 12 w 259"/>
                <a:gd name="T19" fmla="*/ 34 h 259"/>
                <a:gd name="T20" fmla="*/ 90 w 259"/>
                <a:gd name="T21" fmla="*/ 0 h 259"/>
                <a:gd name="T22" fmla="*/ 101 w 259"/>
                <a:gd name="T23" fmla="*/ 0 h 259"/>
                <a:gd name="T24" fmla="*/ 101 w 259"/>
                <a:gd name="T25" fmla="*/ 0 h 259"/>
                <a:gd name="T26" fmla="*/ 135 w 259"/>
                <a:gd name="T27" fmla="*/ 23 h 259"/>
                <a:gd name="T28" fmla="*/ 158 w 259"/>
                <a:gd name="T29" fmla="*/ 112 h 259"/>
                <a:gd name="T30" fmla="*/ 169 w 259"/>
                <a:gd name="T31" fmla="*/ 135 h 259"/>
                <a:gd name="T32" fmla="*/ 180 w 259"/>
                <a:gd name="T33" fmla="*/ 146 h 259"/>
                <a:gd name="T34" fmla="*/ 191 w 259"/>
                <a:gd name="T35" fmla="*/ 146 h 259"/>
                <a:gd name="T36" fmla="*/ 236 w 259"/>
                <a:gd name="T37" fmla="*/ 168 h 259"/>
                <a:gd name="T38" fmla="*/ 236 w 259"/>
                <a:gd name="T39" fmla="*/ 168 h 259"/>
                <a:gd name="T40" fmla="*/ 258 w 259"/>
                <a:gd name="T41" fmla="*/ 191 h 259"/>
                <a:gd name="T42" fmla="*/ 202 w 259"/>
                <a:gd name="T43" fmla="*/ 258 h 259"/>
                <a:gd name="T44" fmla="*/ 191 w 259"/>
                <a:gd name="T45" fmla="*/ 258 h 259"/>
                <a:gd name="T46" fmla="*/ 191 w 259"/>
                <a:gd name="T47" fmla="*/ 191 h 259"/>
                <a:gd name="T48" fmla="*/ 191 w 259"/>
                <a:gd name="T49" fmla="*/ 191 h 259"/>
                <a:gd name="T50" fmla="*/ 202 w 259"/>
                <a:gd name="T51" fmla="*/ 202 h 259"/>
                <a:gd name="T52" fmla="*/ 202 w 259"/>
                <a:gd name="T53" fmla="*/ 202 h 259"/>
                <a:gd name="T54" fmla="*/ 191 w 259"/>
                <a:gd name="T55" fmla="*/ 191 h 259"/>
                <a:gd name="T56" fmla="*/ 90 w 259"/>
                <a:gd name="T57" fmla="*/ 90 h 259"/>
                <a:gd name="T58" fmla="*/ 90 w 259"/>
                <a:gd name="T59" fmla="*/ 90 h 259"/>
                <a:gd name="T60" fmla="*/ 124 w 259"/>
                <a:gd name="T61" fmla="*/ 101 h 259"/>
                <a:gd name="T62" fmla="*/ 101 w 259"/>
                <a:gd name="T63" fmla="*/ 45 h 259"/>
                <a:gd name="T64" fmla="*/ 101 w 259"/>
                <a:gd name="T65" fmla="*/ 45 h 259"/>
                <a:gd name="T66" fmla="*/ 45 w 259"/>
                <a:gd name="T67" fmla="*/ 68 h 259"/>
                <a:gd name="T68" fmla="*/ 45 w 259"/>
                <a:gd name="T69" fmla="*/ 79 h 259"/>
                <a:gd name="T70" fmla="*/ 68 w 259"/>
                <a:gd name="T71" fmla="*/ 101 h 259"/>
                <a:gd name="T72" fmla="*/ 79 w 259"/>
                <a:gd name="T73" fmla="*/ 101 h 259"/>
                <a:gd name="T74" fmla="*/ 90 w 259"/>
                <a:gd name="T75" fmla="*/ 9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9" h="259">
                  <a:moveTo>
                    <a:pt x="191" y="258"/>
                  </a:moveTo>
                  <a:lnTo>
                    <a:pt x="191" y="258"/>
                  </a:lnTo>
                  <a:cubicBezTo>
                    <a:pt x="169" y="258"/>
                    <a:pt x="158" y="236"/>
                    <a:pt x="158" y="224"/>
                  </a:cubicBezTo>
                  <a:lnTo>
                    <a:pt x="158" y="224"/>
                  </a:lnTo>
                  <a:cubicBezTo>
                    <a:pt x="146" y="224"/>
                    <a:pt x="135" y="224"/>
                    <a:pt x="124" y="213"/>
                  </a:cubicBezTo>
                  <a:cubicBezTo>
                    <a:pt x="113" y="191"/>
                    <a:pt x="113" y="168"/>
                    <a:pt x="113" y="157"/>
                  </a:cubicBezTo>
                  <a:lnTo>
                    <a:pt x="90" y="135"/>
                  </a:lnTo>
                  <a:cubicBezTo>
                    <a:pt x="79" y="135"/>
                    <a:pt x="79" y="146"/>
                    <a:pt x="68" y="146"/>
                  </a:cubicBezTo>
                  <a:cubicBezTo>
                    <a:pt x="34" y="146"/>
                    <a:pt x="12" y="123"/>
                    <a:pt x="0" y="79"/>
                  </a:cubicBezTo>
                  <a:cubicBezTo>
                    <a:pt x="0" y="68"/>
                    <a:pt x="0" y="56"/>
                    <a:pt x="12" y="34"/>
                  </a:cubicBezTo>
                  <a:cubicBezTo>
                    <a:pt x="34" y="12"/>
                    <a:pt x="68" y="12"/>
                    <a:pt x="90" y="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101" y="0"/>
                  </a:lnTo>
                  <a:cubicBezTo>
                    <a:pt x="113" y="0"/>
                    <a:pt x="124" y="12"/>
                    <a:pt x="135" y="23"/>
                  </a:cubicBezTo>
                  <a:cubicBezTo>
                    <a:pt x="158" y="45"/>
                    <a:pt x="169" y="90"/>
                    <a:pt x="158" y="112"/>
                  </a:cubicBezTo>
                  <a:cubicBezTo>
                    <a:pt x="158" y="123"/>
                    <a:pt x="169" y="123"/>
                    <a:pt x="169" y="135"/>
                  </a:cubicBezTo>
                  <a:cubicBezTo>
                    <a:pt x="180" y="135"/>
                    <a:pt x="180" y="146"/>
                    <a:pt x="180" y="146"/>
                  </a:cubicBezTo>
                  <a:cubicBezTo>
                    <a:pt x="191" y="146"/>
                    <a:pt x="191" y="146"/>
                    <a:pt x="191" y="146"/>
                  </a:cubicBezTo>
                  <a:cubicBezTo>
                    <a:pt x="214" y="146"/>
                    <a:pt x="225" y="157"/>
                    <a:pt x="236" y="168"/>
                  </a:cubicBezTo>
                  <a:lnTo>
                    <a:pt x="236" y="168"/>
                  </a:lnTo>
                  <a:cubicBezTo>
                    <a:pt x="247" y="179"/>
                    <a:pt x="258" y="179"/>
                    <a:pt x="258" y="191"/>
                  </a:cubicBezTo>
                  <a:cubicBezTo>
                    <a:pt x="258" y="213"/>
                    <a:pt x="247" y="224"/>
                    <a:pt x="202" y="258"/>
                  </a:cubicBezTo>
                  <a:lnTo>
                    <a:pt x="191" y="258"/>
                  </a:lnTo>
                  <a:close/>
                  <a:moveTo>
                    <a:pt x="191" y="191"/>
                  </a:moveTo>
                  <a:lnTo>
                    <a:pt x="191" y="191"/>
                  </a:lnTo>
                  <a:cubicBezTo>
                    <a:pt x="202" y="191"/>
                    <a:pt x="202" y="202"/>
                    <a:pt x="202" y="202"/>
                  </a:cubicBezTo>
                  <a:lnTo>
                    <a:pt x="202" y="202"/>
                  </a:lnTo>
                  <a:cubicBezTo>
                    <a:pt x="202" y="202"/>
                    <a:pt x="202" y="191"/>
                    <a:pt x="191" y="191"/>
                  </a:cubicBezTo>
                  <a:close/>
                  <a:moveTo>
                    <a:pt x="90" y="90"/>
                  </a:moveTo>
                  <a:lnTo>
                    <a:pt x="90" y="90"/>
                  </a:lnTo>
                  <a:cubicBezTo>
                    <a:pt x="101" y="90"/>
                    <a:pt x="113" y="101"/>
                    <a:pt x="124" y="101"/>
                  </a:cubicBezTo>
                  <a:cubicBezTo>
                    <a:pt x="124" y="90"/>
                    <a:pt x="113" y="56"/>
                    <a:pt x="101" y="45"/>
                  </a:cubicBezTo>
                  <a:lnTo>
                    <a:pt x="101" y="45"/>
                  </a:lnTo>
                  <a:cubicBezTo>
                    <a:pt x="79" y="56"/>
                    <a:pt x="56" y="56"/>
                    <a:pt x="45" y="68"/>
                  </a:cubicBezTo>
                  <a:cubicBezTo>
                    <a:pt x="45" y="68"/>
                    <a:pt x="45" y="68"/>
                    <a:pt x="45" y="79"/>
                  </a:cubicBezTo>
                  <a:cubicBezTo>
                    <a:pt x="56" y="101"/>
                    <a:pt x="56" y="101"/>
                    <a:pt x="68" y="101"/>
                  </a:cubicBezTo>
                  <a:lnTo>
                    <a:pt x="79" y="101"/>
                  </a:lnTo>
                  <a:cubicBezTo>
                    <a:pt x="79" y="90"/>
                    <a:pt x="90" y="90"/>
                    <a:pt x="90" y="90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" name="Freeform 121"/>
            <p:cNvSpPr>
              <a:spLocks noChangeArrowheads="1"/>
            </p:cNvSpPr>
            <p:nvPr/>
          </p:nvSpPr>
          <p:spPr bwMode="auto">
            <a:xfrm>
              <a:off x="4934994" y="4446078"/>
              <a:ext cx="47388" cy="42819"/>
            </a:xfrm>
            <a:custGeom>
              <a:avLst/>
              <a:gdLst>
                <a:gd name="T0" fmla="*/ 45 w 135"/>
                <a:gd name="T1" fmla="*/ 11 h 124"/>
                <a:gd name="T2" fmla="*/ 45 w 135"/>
                <a:gd name="T3" fmla="*/ 11 h 124"/>
                <a:gd name="T4" fmla="*/ 22 w 135"/>
                <a:gd name="T5" fmla="*/ 56 h 124"/>
                <a:gd name="T6" fmla="*/ 22 w 135"/>
                <a:gd name="T7" fmla="*/ 78 h 124"/>
                <a:gd name="T8" fmla="*/ 78 w 135"/>
                <a:gd name="T9" fmla="*/ 112 h 124"/>
                <a:gd name="T10" fmla="*/ 112 w 135"/>
                <a:gd name="T11" fmla="*/ 67 h 124"/>
                <a:gd name="T12" fmla="*/ 78 w 135"/>
                <a:gd name="T13" fmla="*/ 22 h 124"/>
                <a:gd name="T14" fmla="*/ 45 w 135"/>
                <a:gd name="T15" fmla="*/ 1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5" h="124">
                  <a:moveTo>
                    <a:pt x="45" y="11"/>
                  </a:moveTo>
                  <a:lnTo>
                    <a:pt x="45" y="11"/>
                  </a:lnTo>
                  <a:cubicBezTo>
                    <a:pt x="45" y="22"/>
                    <a:pt x="45" y="56"/>
                    <a:pt x="22" y="56"/>
                  </a:cubicBezTo>
                  <a:cubicBezTo>
                    <a:pt x="0" y="56"/>
                    <a:pt x="0" y="89"/>
                    <a:pt x="22" y="78"/>
                  </a:cubicBezTo>
                  <a:cubicBezTo>
                    <a:pt x="56" y="78"/>
                    <a:pt x="33" y="123"/>
                    <a:pt x="78" y="112"/>
                  </a:cubicBezTo>
                  <a:cubicBezTo>
                    <a:pt x="112" y="100"/>
                    <a:pt x="134" y="78"/>
                    <a:pt x="112" y="67"/>
                  </a:cubicBezTo>
                  <a:cubicBezTo>
                    <a:pt x="89" y="56"/>
                    <a:pt x="89" y="33"/>
                    <a:pt x="78" y="22"/>
                  </a:cubicBezTo>
                  <a:cubicBezTo>
                    <a:pt x="78" y="11"/>
                    <a:pt x="45" y="0"/>
                    <a:pt x="45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" name="Freeform 122"/>
            <p:cNvSpPr>
              <a:spLocks noChangeArrowheads="1"/>
            </p:cNvSpPr>
            <p:nvPr/>
          </p:nvSpPr>
          <p:spPr bwMode="auto">
            <a:xfrm>
              <a:off x="4927350" y="4441490"/>
              <a:ext cx="58089" cy="50465"/>
            </a:xfrm>
            <a:custGeom>
              <a:avLst/>
              <a:gdLst>
                <a:gd name="T0" fmla="*/ 89 w 169"/>
                <a:gd name="T1" fmla="*/ 146 h 147"/>
                <a:gd name="T2" fmla="*/ 89 w 169"/>
                <a:gd name="T3" fmla="*/ 146 h 147"/>
                <a:gd name="T4" fmla="*/ 89 w 169"/>
                <a:gd name="T5" fmla="*/ 146 h 147"/>
                <a:gd name="T6" fmla="*/ 44 w 169"/>
                <a:gd name="T7" fmla="*/ 112 h 147"/>
                <a:gd name="T8" fmla="*/ 44 w 169"/>
                <a:gd name="T9" fmla="*/ 112 h 147"/>
                <a:gd name="T10" fmla="*/ 0 w 169"/>
                <a:gd name="T11" fmla="*/ 90 h 147"/>
                <a:gd name="T12" fmla="*/ 44 w 169"/>
                <a:gd name="T13" fmla="*/ 45 h 147"/>
                <a:gd name="T14" fmla="*/ 44 w 169"/>
                <a:gd name="T15" fmla="*/ 34 h 147"/>
                <a:gd name="T16" fmla="*/ 44 w 169"/>
                <a:gd name="T17" fmla="*/ 23 h 147"/>
                <a:gd name="T18" fmla="*/ 78 w 169"/>
                <a:gd name="T19" fmla="*/ 0 h 147"/>
                <a:gd name="T20" fmla="*/ 123 w 169"/>
                <a:gd name="T21" fmla="*/ 23 h 147"/>
                <a:gd name="T22" fmla="*/ 123 w 169"/>
                <a:gd name="T23" fmla="*/ 34 h 147"/>
                <a:gd name="T24" fmla="*/ 145 w 169"/>
                <a:gd name="T25" fmla="*/ 56 h 147"/>
                <a:gd name="T26" fmla="*/ 168 w 169"/>
                <a:gd name="T27" fmla="*/ 90 h 147"/>
                <a:gd name="T28" fmla="*/ 100 w 169"/>
                <a:gd name="T29" fmla="*/ 146 h 147"/>
                <a:gd name="T30" fmla="*/ 89 w 169"/>
                <a:gd name="T31" fmla="*/ 146 h 147"/>
                <a:gd name="T32" fmla="*/ 78 w 169"/>
                <a:gd name="T33" fmla="*/ 79 h 147"/>
                <a:gd name="T34" fmla="*/ 78 w 169"/>
                <a:gd name="T35" fmla="*/ 79 h 147"/>
                <a:gd name="T36" fmla="*/ 89 w 169"/>
                <a:gd name="T37" fmla="*/ 101 h 147"/>
                <a:gd name="T38" fmla="*/ 89 w 169"/>
                <a:gd name="T39" fmla="*/ 101 h 147"/>
                <a:gd name="T40" fmla="*/ 89 w 169"/>
                <a:gd name="T41" fmla="*/ 101 h 147"/>
                <a:gd name="T42" fmla="*/ 111 w 169"/>
                <a:gd name="T43" fmla="*/ 90 h 147"/>
                <a:gd name="T44" fmla="*/ 89 w 169"/>
                <a:gd name="T45" fmla="*/ 56 h 147"/>
                <a:gd name="T46" fmla="*/ 78 w 169"/>
                <a:gd name="T47" fmla="*/ 7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9" h="147">
                  <a:moveTo>
                    <a:pt x="89" y="146"/>
                  </a:moveTo>
                  <a:lnTo>
                    <a:pt x="89" y="146"/>
                  </a:lnTo>
                  <a:lnTo>
                    <a:pt x="89" y="146"/>
                  </a:lnTo>
                  <a:cubicBezTo>
                    <a:pt x="55" y="146"/>
                    <a:pt x="55" y="124"/>
                    <a:pt x="44" y="112"/>
                  </a:cubicBezTo>
                  <a:lnTo>
                    <a:pt x="44" y="112"/>
                  </a:lnTo>
                  <a:cubicBezTo>
                    <a:pt x="22" y="124"/>
                    <a:pt x="11" y="101"/>
                    <a:pt x="0" y="90"/>
                  </a:cubicBezTo>
                  <a:cubicBezTo>
                    <a:pt x="0" y="68"/>
                    <a:pt x="22" y="45"/>
                    <a:pt x="44" y="45"/>
                  </a:cubicBezTo>
                  <a:lnTo>
                    <a:pt x="44" y="34"/>
                  </a:lnTo>
                  <a:cubicBezTo>
                    <a:pt x="44" y="23"/>
                    <a:pt x="44" y="23"/>
                    <a:pt x="44" y="23"/>
                  </a:cubicBezTo>
                  <a:cubicBezTo>
                    <a:pt x="55" y="12"/>
                    <a:pt x="67" y="0"/>
                    <a:pt x="78" y="0"/>
                  </a:cubicBezTo>
                  <a:cubicBezTo>
                    <a:pt x="100" y="0"/>
                    <a:pt x="123" y="12"/>
                    <a:pt x="123" y="23"/>
                  </a:cubicBezTo>
                  <a:lnTo>
                    <a:pt x="123" y="34"/>
                  </a:lnTo>
                  <a:cubicBezTo>
                    <a:pt x="134" y="45"/>
                    <a:pt x="134" y="56"/>
                    <a:pt x="145" y="56"/>
                  </a:cubicBezTo>
                  <a:cubicBezTo>
                    <a:pt x="156" y="68"/>
                    <a:pt x="168" y="79"/>
                    <a:pt x="168" y="90"/>
                  </a:cubicBezTo>
                  <a:cubicBezTo>
                    <a:pt x="168" y="112"/>
                    <a:pt x="134" y="135"/>
                    <a:pt x="100" y="146"/>
                  </a:cubicBezTo>
                  <a:lnTo>
                    <a:pt x="89" y="146"/>
                  </a:lnTo>
                  <a:close/>
                  <a:moveTo>
                    <a:pt x="78" y="79"/>
                  </a:moveTo>
                  <a:lnTo>
                    <a:pt x="78" y="79"/>
                  </a:lnTo>
                  <a:cubicBezTo>
                    <a:pt x="78" y="90"/>
                    <a:pt x="89" y="90"/>
                    <a:pt x="89" y="101"/>
                  </a:cubicBezTo>
                  <a:lnTo>
                    <a:pt x="89" y="101"/>
                  </a:lnTo>
                  <a:lnTo>
                    <a:pt x="89" y="101"/>
                  </a:lnTo>
                  <a:cubicBezTo>
                    <a:pt x="100" y="101"/>
                    <a:pt x="111" y="101"/>
                    <a:pt x="111" y="90"/>
                  </a:cubicBezTo>
                  <a:cubicBezTo>
                    <a:pt x="100" y="79"/>
                    <a:pt x="89" y="68"/>
                    <a:pt x="89" y="56"/>
                  </a:cubicBezTo>
                  <a:cubicBezTo>
                    <a:pt x="89" y="56"/>
                    <a:pt x="78" y="68"/>
                    <a:pt x="78" y="79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" name="Freeform 123"/>
            <p:cNvSpPr>
              <a:spLocks noChangeArrowheads="1"/>
            </p:cNvSpPr>
            <p:nvPr/>
          </p:nvSpPr>
          <p:spPr bwMode="auto">
            <a:xfrm>
              <a:off x="6911532" y="4320680"/>
              <a:ext cx="85604" cy="159041"/>
            </a:xfrm>
            <a:custGeom>
              <a:avLst/>
              <a:gdLst>
                <a:gd name="T0" fmla="*/ 34 w 248"/>
                <a:gd name="T1" fmla="*/ 33 h 460"/>
                <a:gd name="T2" fmla="*/ 34 w 248"/>
                <a:gd name="T3" fmla="*/ 33 h 460"/>
                <a:gd name="T4" fmla="*/ 112 w 248"/>
                <a:gd name="T5" fmla="*/ 135 h 460"/>
                <a:gd name="T6" fmla="*/ 213 w 248"/>
                <a:gd name="T7" fmla="*/ 235 h 460"/>
                <a:gd name="T8" fmla="*/ 213 w 248"/>
                <a:gd name="T9" fmla="*/ 403 h 460"/>
                <a:gd name="T10" fmla="*/ 213 w 248"/>
                <a:gd name="T11" fmla="*/ 459 h 460"/>
                <a:gd name="T12" fmla="*/ 157 w 248"/>
                <a:gd name="T13" fmla="*/ 314 h 460"/>
                <a:gd name="T14" fmla="*/ 123 w 248"/>
                <a:gd name="T15" fmla="*/ 191 h 460"/>
                <a:gd name="T16" fmla="*/ 23 w 248"/>
                <a:gd name="T17" fmla="*/ 101 h 460"/>
                <a:gd name="T18" fmla="*/ 34 w 248"/>
                <a:gd name="T19" fmla="*/ 33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460">
                  <a:moveTo>
                    <a:pt x="34" y="33"/>
                  </a:moveTo>
                  <a:lnTo>
                    <a:pt x="34" y="33"/>
                  </a:lnTo>
                  <a:cubicBezTo>
                    <a:pt x="34" y="45"/>
                    <a:pt x="67" y="123"/>
                    <a:pt x="112" y="135"/>
                  </a:cubicBezTo>
                  <a:cubicBezTo>
                    <a:pt x="157" y="146"/>
                    <a:pt x="213" y="179"/>
                    <a:pt x="213" y="235"/>
                  </a:cubicBezTo>
                  <a:cubicBezTo>
                    <a:pt x="202" y="291"/>
                    <a:pt x="180" y="370"/>
                    <a:pt x="213" y="403"/>
                  </a:cubicBezTo>
                  <a:cubicBezTo>
                    <a:pt x="247" y="426"/>
                    <a:pt x="236" y="459"/>
                    <a:pt x="213" y="459"/>
                  </a:cubicBezTo>
                  <a:cubicBezTo>
                    <a:pt x="191" y="459"/>
                    <a:pt x="146" y="370"/>
                    <a:pt x="157" y="314"/>
                  </a:cubicBezTo>
                  <a:cubicBezTo>
                    <a:pt x="180" y="246"/>
                    <a:pt x="168" y="224"/>
                    <a:pt x="123" y="191"/>
                  </a:cubicBezTo>
                  <a:cubicBezTo>
                    <a:pt x="67" y="157"/>
                    <a:pt x="45" y="146"/>
                    <a:pt x="23" y="101"/>
                  </a:cubicBezTo>
                  <a:cubicBezTo>
                    <a:pt x="0" y="45"/>
                    <a:pt x="11" y="0"/>
                    <a:pt x="34" y="3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" name="Freeform 124"/>
            <p:cNvSpPr>
              <a:spLocks noChangeArrowheads="1"/>
            </p:cNvSpPr>
            <p:nvPr/>
          </p:nvSpPr>
          <p:spPr bwMode="auto">
            <a:xfrm>
              <a:off x="6903890" y="4320680"/>
              <a:ext cx="97833" cy="168217"/>
            </a:xfrm>
            <a:custGeom>
              <a:avLst/>
              <a:gdLst>
                <a:gd name="T0" fmla="*/ 235 w 281"/>
                <a:gd name="T1" fmla="*/ 482 h 483"/>
                <a:gd name="T2" fmla="*/ 235 w 281"/>
                <a:gd name="T3" fmla="*/ 482 h 483"/>
                <a:gd name="T4" fmla="*/ 190 w 281"/>
                <a:gd name="T5" fmla="*/ 459 h 483"/>
                <a:gd name="T6" fmla="*/ 168 w 281"/>
                <a:gd name="T7" fmla="*/ 302 h 483"/>
                <a:gd name="T8" fmla="*/ 134 w 281"/>
                <a:gd name="T9" fmla="*/ 213 h 483"/>
                <a:gd name="T10" fmla="*/ 22 w 281"/>
                <a:gd name="T11" fmla="*/ 112 h 483"/>
                <a:gd name="T12" fmla="*/ 11 w 281"/>
                <a:gd name="T13" fmla="*/ 22 h 483"/>
                <a:gd name="T14" fmla="*/ 45 w 281"/>
                <a:gd name="T15" fmla="*/ 0 h 483"/>
                <a:gd name="T16" fmla="*/ 78 w 281"/>
                <a:gd name="T17" fmla="*/ 22 h 483"/>
                <a:gd name="T18" fmla="*/ 78 w 281"/>
                <a:gd name="T19" fmla="*/ 33 h 483"/>
                <a:gd name="T20" fmla="*/ 145 w 281"/>
                <a:gd name="T21" fmla="*/ 112 h 483"/>
                <a:gd name="T22" fmla="*/ 258 w 281"/>
                <a:gd name="T23" fmla="*/ 235 h 483"/>
                <a:gd name="T24" fmla="*/ 246 w 281"/>
                <a:gd name="T25" fmla="*/ 280 h 483"/>
                <a:gd name="T26" fmla="*/ 246 w 281"/>
                <a:gd name="T27" fmla="*/ 381 h 483"/>
                <a:gd name="T28" fmla="*/ 280 w 281"/>
                <a:gd name="T29" fmla="*/ 448 h 483"/>
                <a:gd name="T30" fmla="*/ 235 w 281"/>
                <a:gd name="T31" fmla="*/ 482 h 483"/>
                <a:gd name="T32" fmla="*/ 224 w 281"/>
                <a:gd name="T33" fmla="*/ 426 h 483"/>
                <a:gd name="T34" fmla="*/ 224 w 281"/>
                <a:gd name="T35" fmla="*/ 426 h 483"/>
                <a:gd name="T36" fmla="*/ 235 w 281"/>
                <a:gd name="T37" fmla="*/ 437 h 483"/>
                <a:gd name="T38" fmla="*/ 235 w 281"/>
                <a:gd name="T39" fmla="*/ 437 h 483"/>
                <a:gd name="T40" fmla="*/ 224 w 281"/>
                <a:gd name="T41" fmla="*/ 426 h 483"/>
                <a:gd name="T42" fmla="*/ 123 w 281"/>
                <a:gd name="T43" fmla="*/ 157 h 483"/>
                <a:gd name="T44" fmla="*/ 123 w 281"/>
                <a:gd name="T45" fmla="*/ 157 h 483"/>
                <a:gd name="T46" fmla="*/ 157 w 281"/>
                <a:gd name="T47" fmla="*/ 168 h 483"/>
                <a:gd name="T48" fmla="*/ 213 w 281"/>
                <a:gd name="T49" fmla="*/ 235 h 483"/>
                <a:gd name="T50" fmla="*/ 213 w 281"/>
                <a:gd name="T51" fmla="*/ 235 h 483"/>
                <a:gd name="T52" fmla="*/ 134 w 281"/>
                <a:gd name="T53" fmla="*/ 157 h 483"/>
                <a:gd name="T54" fmla="*/ 123 w 281"/>
                <a:gd name="T55" fmla="*/ 15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483">
                  <a:moveTo>
                    <a:pt x="235" y="482"/>
                  </a:moveTo>
                  <a:lnTo>
                    <a:pt x="235" y="482"/>
                  </a:lnTo>
                  <a:cubicBezTo>
                    <a:pt x="224" y="482"/>
                    <a:pt x="202" y="471"/>
                    <a:pt x="190" y="459"/>
                  </a:cubicBezTo>
                  <a:cubicBezTo>
                    <a:pt x="168" y="426"/>
                    <a:pt x="145" y="359"/>
                    <a:pt x="168" y="302"/>
                  </a:cubicBezTo>
                  <a:cubicBezTo>
                    <a:pt x="179" y="246"/>
                    <a:pt x="168" y="235"/>
                    <a:pt x="134" y="213"/>
                  </a:cubicBezTo>
                  <a:cubicBezTo>
                    <a:pt x="78" y="179"/>
                    <a:pt x="45" y="157"/>
                    <a:pt x="22" y="112"/>
                  </a:cubicBezTo>
                  <a:cubicBezTo>
                    <a:pt x="0" y="67"/>
                    <a:pt x="11" y="33"/>
                    <a:pt x="11" y="22"/>
                  </a:cubicBezTo>
                  <a:cubicBezTo>
                    <a:pt x="22" y="11"/>
                    <a:pt x="33" y="0"/>
                    <a:pt x="45" y="0"/>
                  </a:cubicBezTo>
                  <a:cubicBezTo>
                    <a:pt x="45" y="0"/>
                    <a:pt x="67" y="11"/>
                    <a:pt x="78" y="22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101" y="90"/>
                    <a:pt x="123" y="112"/>
                    <a:pt x="145" y="112"/>
                  </a:cubicBezTo>
                  <a:cubicBezTo>
                    <a:pt x="202" y="123"/>
                    <a:pt x="269" y="179"/>
                    <a:pt x="258" y="235"/>
                  </a:cubicBezTo>
                  <a:cubicBezTo>
                    <a:pt x="258" y="246"/>
                    <a:pt x="246" y="258"/>
                    <a:pt x="246" y="280"/>
                  </a:cubicBezTo>
                  <a:cubicBezTo>
                    <a:pt x="235" y="314"/>
                    <a:pt x="224" y="370"/>
                    <a:pt x="246" y="381"/>
                  </a:cubicBezTo>
                  <a:cubicBezTo>
                    <a:pt x="280" y="415"/>
                    <a:pt x="280" y="437"/>
                    <a:pt x="280" y="448"/>
                  </a:cubicBezTo>
                  <a:cubicBezTo>
                    <a:pt x="269" y="459"/>
                    <a:pt x="258" y="482"/>
                    <a:pt x="235" y="482"/>
                  </a:cubicBezTo>
                  <a:close/>
                  <a:moveTo>
                    <a:pt x="224" y="426"/>
                  </a:moveTo>
                  <a:lnTo>
                    <a:pt x="224" y="426"/>
                  </a:lnTo>
                  <a:lnTo>
                    <a:pt x="235" y="437"/>
                  </a:lnTo>
                  <a:lnTo>
                    <a:pt x="235" y="437"/>
                  </a:lnTo>
                  <a:cubicBezTo>
                    <a:pt x="235" y="437"/>
                    <a:pt x="235" y="426"/>
                    <a:pt x="224" y="426"/>
                  </a:cubicBezTo>
                  <a:close/>
                  <a:moveTo>
                    <a:pt x="123" y="157"/>
                  </a:moveTo>
                  <a:lnTo>
                    <a:pt x="123" y="157"/>
                  </a:lnTo>
                  <a:cubicBezTo>
                    <a:pt x="134" y="157"/>
                    <a:pt x="145" y="168"/>
                    <a:pt x="157" y="168"/>
                  </a:cubicBezTo>
                  <a:cubicBezTo>
                    <a:pt x="179" y="191"/>
                    <a:pt x="202" y="213"/>
                    <a:pt x="213" y="235"/>
                  </a:cubicBezTo>
                  <a:lnTo>
                    <a:pt x="213" y="235"/>
                  </a:lnTo>
                  <a:cubicBezTo>
                    <a:pt x="213" y="191"/>
                    <a:pt x="168" y="168"/>
                    <a:pt x="134" y="157"/>
                  </a:cubicBezTo>
                  <a:cubicBezTo>
                    <a:pt x="123" y="157"/>
                    <a:pt x="123" y="157"/>
                    <a:pt x="123" y="157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" name="Freeform 125"/>
            <p:cNvSpPr>
              <a:spLocks noChangeArrowheads="1"/>
            </p:cNvSpPr>
            <p:nvPr/>
          </p:nvSpPr>
          <p:spPr bwMode="auto">
            <a:xfrm>
              <a:off x="7012423" y="4406318"/>
              <a:ext cx="30573" cy="39760"/>
            </a:xfrm>
            <a:custGeom>
              <a:avLst/>
              <a:gdLst>
                <a:gd name="T0" fmla="*/ 67 w 90"/>
                <a:gd name="T1" fmla="*/ 101 h 114"/>
                <a:gd name="T2" fmla="*/ 67 w 90"/>
                <a:gd name="T3" fmla="*/ 101 h 114"/>
                <a:gd name="T4" fmla="*/ 11 w 90"/>
                <a:gd name="T5" fmla="*/ 68 h 114"/>
                <a:gd name="T6" fmla="*/ 55 w 90"/>
                <a:gd name="T7" fmla="*/ 12 h 114"/>
                <a:gd name="T8" fmla="*/ 67 w 90"/>
                <a:gd name="T9" fmla="*/ 10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14">
                  <a:moveTo>
                    <a:pt x="67" y="101"/>
                  </a:moveTo>
                  <a:lnTo>
                    <a:pt x="67" y="101"/>
                  </a:lnTo>
                  <a:cubicBezTo>
                    <a:pt x="55" y="113"/>
                    <a:pt x="22" y="113"/>
                    <a:pt x="11" y="68"/>
                  </a:cubicBezTo>
                  <a:cubicBezTo>
                    <a:pt x="0" y="23"/>
                    <a:pt x="33" y="0"/>
                    <a:pt x="55" y="12"/>
                  </a:cubicBezTo>
                  <a:cubicBezTo>
                    <a:pt x="89" y="12"/>
                    <a:pt x="89" y="79"/>
                    <a:pt x="67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" name="Freeform 126"/>
            <p:cNvSpPr>
              <a:spLocks noChangeArrowheads="1"/>
            </p:cNvSpPr>
            <p:nvPr/>
          </p:nvSpPr>
          <p:spPr bwMode="auto">
            <a:xfrm>
              <a:off x="7007837" y="4401730"/>
              <a:ext cx="42802" cy="50465"/>
            </a:xfrm>
            <a:custGeom>
              <a:avLst/>
              <a:gdLst>
                <a:gd name="T0" fmla="*/ 67 w 125"/>
                <a:gd name="T1" fmla="*/ 146 h 147"/>
                <a:gd name="T2" fmla="*/ 67 w 125"/>
                <a:gd name="T3" fmla="*/ 146 h 147"/>
                <a:gd name="T4" fmla="*/ 0 w 125"/>
                <a:gd name="T5" fmla="*/ 90 h 147"/>
                <a:gd name="T6" fmla="*/ 12 w 125"/>
                <a:gd name="T7" fmla="*/ 23 h 147"/>
                <a:gd name="T8" fmla="*/ 67 w 125"/>
                <a:gd name="T9" fmla="*/ 0 h 147"/>
                <a:gd name="T10" fmla="*/ 79 w 125"/>
                <a:gd name="T11" fmla="*/ 0 h 147"/>
                <a:gd name="T12" fmla="*/ 112 w 125"/>
                <a:gd name="T13" fmla="*/ 34 h 147"/>
                <a:gd name="T14" fmla="*/ 101 w 125"/>
                <a:gd name="T15" fmla="*/ 124 h 147"/>
                <a:gd name="T16" fmla="*/ 67 w 125"/>
                <a:gd name="T17" fmla="*/ 146 h 147"/>
                <a:gd name="T18" fmla="*/ 67 w 125"/>
                <a:gd name="T19" fmla="*/ 34 h 147"/>
                <a:gd name="T20" fmla="*/ 67 w 125"/>
                <a:gd name="T21" fmla="*/ 34 h 147"/>
                <a:gd name="T22" fmla="*/ 56 w 125"/>
                <a:gd name="T23" fmla="*/ 45 h 147"/>
                <a:gd name="T24" fmla="*/ 45 w 125"/>
                <a:gd name="T25" fmla="*/ 79 h 147"/>
                <a:gd name="T26" fmla="*/ 67 w 125"/>
                <a:gd name="T27" fmla="*/ 101 h 147"/>
                <a:gd name="T28" fmla="*/ 67 w 125"/>
                <a:gd name="T29" fmla="*/ 124 h 147"/>
                <a:gd name="T30" fmla="*/ 67 w 125"/>
                <a:gd name="T31" fmla="*/ 101 h 147"/>
                <a:gd name="T32" fmla="*/ 67 w 125"/>
                <a:gd name="T33" fmla="*/ 101 h 147"/>
                <a:gd name="T34" fmla="*/ 67 w 125"/>
                <a:gd name="T35" fmla="*/ 56 h 147"/>
                <a:gd name="T36" fmla="*/ 67 w 125"/>
                <a:gd name="T37" fmla="*/ 3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147">
                  <a:moveTo>
                    <a:pt x="67" y="146"/>
                  </a:moveTo>
                  <a:lnTo>
                    <a:pt x="67" y="146"/>
                  </a:lnTo>
                  <a:cubicBezTo>
                    <a:pt x="56" y="146"/>
                    <a:pt x="23" y="135"/>
                    <a:pt x="0" y="90"/>
                  </a:cubicBezTo>
                  <a:cubicBezTo>
                    <a:pt x="0" y="56"/>
                    <a:pt x="0" y="34"/>
                    <a:pt x="12" y="23"/>
                  </a:cubicBezTo>
                  <a:cubicBezTo>
                    <a:pt x="34" y="0"/>
                    <a:pt x="45" y="0"/>
                    <a:pt x="67" y="0"/>
                  </a:cubicBezTo>
                  <a:lnTo>
                    <a:pt x="79" y="0"/>
                  </a:lnTo>
                  <a:cubicBezTo>
                    <a:pt x="90" y="0"/>
                    <a:pt x="101" y="11"/>
                    <a:pt x="112" y="34"/>
                  </a:cubicBezTo>
                  <a:cubicBezTo>
                    <a:pt x="124" y="67"/>
                    <a:pt x="112" y="101"/>
                    <a:pt x="101" y="124"/>
                  </a:cubicBezTo>
                  <a:cubicBezTo>
                    <a:pt x="90" y="135"/>
                    <a:pt x="79" y="146"/>
                    <a:pt x="67" y="146"/>
                  </a:cubicBezTo>
                  <a:close/>
                  <a:moveTo>
                    <a:pt x="67" y="34"/>
                  </a:moveTo>
                  <a:lnTo>
                    <a:pt x="67" y="34"/>
                  </a:lnTo>
                  <a:cubicBezTo>
                    <a:pt x="56" y="34"/>
                    <a:pt x="56" y="45"/>
                    <a:pt x="56" y="45"/>
                  </a:cubicBezTo>
                  <a:cubicBezTo>
                    <a:pt x="45" y="56"/>
                    <a:pt x="45" y="67"/>
                    <a:pt x="45" y="79"/>
                  </a:cubicBezTo>
                  <a:cubicBezTo>
                    <a:pt x="56" y="90"/>
                    <a:pt x="56" y="101"/>
                    <a:pt x="67" y="101"/>
                  </a:cubicBezTo>
                  <a:cubicBezTo>
                    <a:pt x="67" y="124"/>
                    <a:pt x="67" y="124"/>
                    <a:pt x="67" y="124"/>
                  </a:cubicBezTo>
                  <a:cubicBezTo>
                    <a:pt x="67" y="101"/>
                    <a:pt x="67" y="101"/>
                    <a:pt x="67" y="101"/>
                  </a:cubicBezTo>
                  <a:lnTo>
                    <a:pt x="67" y="101"/>
                  </a:lnTo>
                  <a:cubicBezTo>
                    <a:pt x="67" y="90"/>
                    <a:pt x="67" y="79"/>
                    <a:pt x="67" y="56"/>
                  </a:cubicBezTo>
                  <a:cubicBezTo>
                    <a:pt x="67" y="45"/>
                    <a:pt x="67" y="45"/>
                    <a:pt x="67" y="34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" name="Freeform 127"/>
            <p:cNvSpPr>
              <a:spLocks noChangeArrowheads="1"/>
            </p:cNvSpPr>
            <p:nvPr/>
          </p:nvSpPr>
          <p:spPr bwMode="auto">
            <a:xfrm>
              <a:off x="3849655" y="4892617"/>
              <a:ext cx="47388" cy="39760"/>
            </a:xfrm>
            <a:custGeom>
              <a:avLst/>
              <a:gdLst>
                <a:gd name="T0" fmla="*/ 101 w 136"/>
                <a:gd name="T1" fmla="*/ 68 h 113"/>
                <a:gd name="T2" fmla="*/ 101 w 136"/>
                <a:gd name="T3" fmla="*/ 68 h 113"/>
                <a:gd name="T4" fmla="*/ 101 w 136"/>
                <a:gd name="T5" fmla="*/ 0 h 113"/>
                <a:gd name="T6" fmla="*/ 34 w 136"/>
                <a:gd name="T7" fmla="*/ 34 h 113"/>
                <a:gd name="T8" fmla="*/ 23 w 136"/>
                <a:gd name="T9" fmla="*/ 90 h 113"/>
                <a:gd name="T10" fmla="*/ 101 w 136"/>
                <a:gd name="T11" fmla="*/ 6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6" h="113">
                  <a:moveTo>
                    <a:pt x="101" y="68"/>
                  </a:moveTo>
                  <a:lnTo>
                    <a:pt x="101" y="68"/>
                  </a:lnTo>
                  <a:cubicBezTo>
                    <a:pt x="112" y="45"/>
                    <a:pt x="135" y="0"/>
                    <a:pt x="101" y="0"/>
                  </a:cubicBezTo>
                  <a:cubicBezTo>
                    <a:pt x="67" y="0"/>
                    <a:pt x="34" y="0"/>
                    <a:pt x="34" y="34"/>
                  </a:cubicBezTo>
                  <a:cubicBezTo>
                    <a:pt x="34" y="68"/>
                    <a:pt x="0" y="79"/>
                    <a:pt x="23" y="90"/>
                  </a:cubicBezTo>
                  <a:cubicBezTo>
                    <a:pt x="34" y="112"/>
                    <a:pt x="90" y="90"/>
                    <a:pt x="101" y="6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" name="Freeform 128"/>
            <p:cNvSpPr>
              <a:spLocks noChangeArrowheads="1"/>
            </p:cNvSpPr>
            <p:nvPr/>
          </p:nvSpPr>
          <p:spPr bwMode="auto">
            <a:xfrm>
              <a:off x="3846598" y="4884970"/>
              <a:ext cx="55031" cy="50465"/>
            </a:xfrm>
            <a:custGeom>
              <a:avLst/>
              <a:gdLst>
                <a:gd name="T0" fmla="*/ 45 w 158"/>
                <a:gd name="T1" fmla="*/ 146 h 147"/>
                <a:gd name="T2" fmla="*/ 45 w 158"/>
                <a:gd name="T3" fmla="*/ 146 h 147"/>
                <a:gd name="T4" fmla="*/ 45 w 158"/>
                <a:gd name="T5" fmla="*/ 146 h 147"/>
                <a:gd name="T6" fmla="*/ 11 w 158"/>
                <a:gd name="T7" fmla="*/ 123 h 147"/>
                <a:gd name="T8" fmla="*/ 22 w 158"/>
                <a:gd name="T9" fmla="*/ 79 h 147"/>
                <a:gd name="T10" fmla="*/ 22 w 158"/>
                <a:gd name="T11" fmla="*/ 56 h 147"/>
                <a:gd name="T12" fmla="*/ 101 w 158"/>
                <a:gd name="T13" fmla="*/ 0 h 147"/>
                <a:gd name="T14" fmla="*/ 112 w 158"/>
                <a:gd name="T15" fmla="*/ 0 h 147"/>
                <a:gd name="T16" fmla="*/ 146 w 158"/>
                <a:gd name="T17" fmla="*/ 22 h 147"/>
                <a:gd name="T18" fmla="*/ 134 w 158"/>
                <a:gd name="T19" fmla="*/ 101 h 147"/>
                <a:gd name="T20" fmla="*/ 45 w 158"/>
                <a:gd name="T21" fmla="*/ 146 h 147"/>
                <a:gd name="T22" fmla="*/ 67 w 158"/>
                <a:gd name="T23" fmla="*/ 56 h 147"/>
                <a:gd name="T24" fmla="*/ 67 w 158"/>
                <a:gd name="T25" fmla="*/ 56 h 147"/>
                <a:gd name="T26" fmla="*/ 67 w 158"/>
                <a:gd name="T27" fmla="*/ 56 h 147"/>
                <a:gd name="T28" fmla="*/ 56 w 158"/>
                <a:gd name="T29" fmla="*/ 101 h 147"/>
                <a:gd name="T30" fmla="*/ 89 w 158"/>
                <a:gd name="T31" fmla="*/ 79 h 147"/>
                <a:gd name="T32" fmla="*/ 101 w 158"/>
                <a:gd name="T33" fmla="*/ 45 h 147"/>
                <a:gd name="T34" fmla="*/ 67 w 158"/>
                <a:gd name="T35" fmla="*/ 5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8" h="147">
                  <a:moveTo>
                    <a:pt x="45" y="146"/>
                  </a:moveTo>
                  <a:lnTo>
                    <a:pt x="45" y="146"/>
                  </a:lnTo>
                  <a:lnTo>
                    <a:pt x="45" y="146"/>
                  </a:lnTo>
                  <a:cubicBezTo>
                    <a:pt x="34" y="146"/>
                    <a:pt x="22" y="134"/>
                    <a:pt x="11" y="123"/>
                  </a:cubicBezTo>
                  <a:cubicBezTo>
                    <a:pt x="0" y="112"/>
                    <a:pt x="11" y="90"/>
                    <a:pt x="22" y="79"/>
                  </a:cubicBezTo>
                  <a:cubicBezTo>
                    <a:pt x="22" y="67"/>
                    <a:pt x="22" y="67"/>
                    <a:pt x="22" y="56"/>
                  </a:cubicBezTo>
                  <a:cubicBezTo>
                    <a:pt x="22" y="11"/>
                    <a:pt x="67" y="0"/>
                    <a:pt x="101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4" y="0"/>
                    <a:pt x="146" y="11"/>
                    <a:pt x="146" y="22"/>
                  </a:cubicBezTo>
                  <a:cubicBezTo>
                    <a:pt x="157" y="45"/>
                    <a:pt x="146" y="67"/>
                    <a:pt x="134" y="101"/>
                  </a:cubicBezTo>
                  <a:cubicBezTo>
                    <a:pt x="112" y="123"/>
                    <a:pt x="78" y="146"/>
                    <a:pt x="45" y="146"/>
                  </a:cubicBezTo>
                  <a:close/>
                  <a:moveTo>
                    <a:pt x="67" y="56"/>
                  </a:moveTo>
                  <a:lnTo>
                    <a:pt x="67" y="56"/>
                  </a:lnTo>
                  <a:lnTo>
                    <a:pt x="67" y="56"/>
                  </a:lnTo>
                  <a:cubicBezTo>
                    <a:pt x="67" y="79"/>
                    <a:pt x="67" y="90"/>
                    <a:pt x="56" y="101"/>
                  </a:cubicBezTo>
                  <a:cubicBezTo>
                    <a:pt x="67" y="90"/>
                    <a:pt x="89" y="90"/>
                    <a:pt x="89" y="79"/>
                  </a:cubicBezTo>
                  <a:cubicBezTo>
                    <a:pt x="101" y="67"/>
                    <a:pt x="101" y="56"/>
                    <a:pt x="101" y="45"/>
                  </a:cubicBezTo>
                  <a:cubicBezTo>
                    <a:pt x="89" y="45"/>
                    <a:pt x="78" y="45"/>
                    <a:pt x="67" y="56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" name="Freeform 129"/>
            <p:cNvSpPr>
              <a:spLocks noChangeArrowheads="1"/>
            </p:cNvSpPr>
            <p:nvPr/>
          </p:nvSpPr>
          <p:spPr bwMode="auto">
            <a:xfrm>
              <a:off x="3198452" y="1748494"/>
              <a:ext cx="1528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" name="Freeform 130"/>
            <p:cNvSpPr>
              <a:spLocks noChangeArrowheads="1"/>
            </p:cNvSpPr>
            <p:nvPr/>
          </p:nvSpPr>
          <p:spPr bwMode="auto">
            <a:xfrm>
              <a:off x="3198452" y="1748494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" name="Freeform 131"/>
            <p:cNvSpPr>
              <a:spLocks noChangeArrowheads="1"/>
            </p:cNvSpPr>
            <p:nvPr/>
          </p:nvSpPr>
          <p:spPr bwMode="auto">
            <a:xfrm>
              <a:off x="3256541" y="1612391"/>
              <a:ext cx="1528" cy="4588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" name="Freeform 132"/>
            <p:cNvSpPr>
              <a:spLocks noChangeArrowheads="1"/>
            </p:cNvSpPr>
            <p:nvPr/>
          </p:nvSpPr>
          <p:spPr bwMode="auto">
            <a:xfrm>
              <a:off x="3251954" y="1616979"/>
              <a:ext cx="4586" cy="1529"/>
            </a:xfrm>
            <a:custGeom>
              <a:avLst/>
              <a:gdLst>
                <a:gd name="T0" fmla="*/ 11 w 12"/>
                <a:gd name="T1" fmla="*/ 0 h 1"/>
                <a:gd name="T2" fmla="*/ 11 w 12"/>
                <a:gd name="T3" fmla="*/ 0 h 1"/>
                <a:gd name="T4" fmla="*/ 0 w 12"/>
                <a:gd name="T5" fmla="*/ 0 h 1"/>
                <a:gd name="T6" fmla="*/ 11 w 1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">
                  <a:moveTo>
                    <a:pt x="11" y="0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" name="Freeform 133"/>
            <p:cNvSpPr>
              <a:spLocks noChangeArrowheads="1"/>
            </p:cNvSpPr>
            <p:nvPr/>
          </p:nvSpPr>
          <p:spPr bwMode="auto">
            <a:xfrm>
              <a:off x="3248897" y="1616979"/>
              <a:ext cx="4586" cy="1529"/>
            </a:xfrm>
            <a:custGeom>
              <a:avLst/>
              <a:gdLst>
                <a:gd name="T0" fmla="*/ 11 w 12"/>
                <a:gd name="T1" fmla="*/ 0 h 1"/>
                <a:gd name="T2" fmla="*/ 11 w 12"/>
                <a:gd name="T3" fmla="*/ 0 h 1"/>
                <a:gd name="T4" fmla="*/ 0 w 12"/>
                <a:gd name="T5" fmla="*/ 0 h 1"/>
                <a:gd name="T6" fmla="*/ 11 w 1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">
                  <a:moveTo>
                    <a:pt x="11" y="0"/>
                  </a:moveTo>
                  <a:lnTo>
                    <a:pt x="11" y="0"/>
                  </a:lnTo>
                  <a:cubicBezTo>
                    <a:pt x="11" y="0"/>
                    <a:pt x="11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" name="Freeform 134"/>
            <p:cNvSpPr>
              <a:spLocks noChangeArrowheads="1"/>
            </p:cNvSpPr>
            <p:nvPr/>
          </p:nvSpPr>
          <p:spPr bwMode="auto">
            <a:xfrm>
              <a:off x="6694465" y="3314438"/>
              <a:ext cx="4586" cy="93283"/>
            </a:xfrm>
            <a:custGeom>
              <a:avLst/>
              <a:gdLst>
                <a:gd name="T0" fmla="*/ 11 w 12"/>
                <a:gd name="T1" fmla="*/ 269 h 270"/>
                <a:gd name="T2" fmla="*/ 0 w 12"/>
                <a:gd name="T3" fmla="*/ 0 h 270"/>
                <a:gd name="T4" fmla="*/ 11 w 12"/>
                <a:gd name="T5" fmla="*/ 269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0">
                  <a:moveTo>
                    <a:pt x="11" y="269"/>
                  </a:moveTo>
                  <a:lnTo>
                    <a:pt x="0" y="0"/>
                  </a:lnTo>
                  <a:lnTo>
                    <a:pt x="11" y="269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2" name="Freeform 137"/>
            <p:cNvSpPr>
              <a:spLocks noChangeArrowheads="1"/>
            </p:cNvSpPr>
            <p:nvPr/>
          </p:nvSpPr>
          <p:spPr bwMode="auto">
            <a:xfrm>
              <a:off x="3251954" y="1616979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3" name="Freeform 138"/>
            <p:cNvSpPr>
              <a:spLocks noChangeArrowheads="1"/>
            </p:cNvSpPr>
            <p:nvPr/>
          </p:nvSpPr>
          <p:spPr bwMode="auto">
            <a:xfrm>
              <a:off x="3256541" y="1616979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4" name="Freeform 139"/>
            <p:cNvSpPr>
              <a:spLocks noChangeArrowheads="1"/>
            </p:cNvSpPr>
            <p:nvPr/>
          </p:nvSpPr>
          <p:spPr bwMode="auto">
            <a:xfrm>
              <a:off x="3256541" y="1612391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5" name="Gruppieren 96">
            <a:extLst>
              <a:ext uri="{FF2B5EF4-FFF2-40B4-BE49-F238E27FC236}">
                <a16:creationId xmlns:a16="http://schemas.microsoft.com/office/drawing/2014/main" id="{32E77E95-B745-97B9-8BBC-B203EDF16451}"/>
              </a:ext>
            </a:extLst>
          </p:cNvPr>
          <p:cNvGrpSpPr>
            <a:grpSpLocks/>
          </p:cNvGrpSpPr>
          <p:nvPr/>
        </p:nvGrpSpPr>
        <p:grpSpPr>
          <a:xfrm>
            <a:off x="6458278" y="4605226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5886E0AF-BCAF-0C67-DE5F-2389CC47225C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Ellipse 98">
              <a:extLst>
                <a:ext uri="{FF2B5EF4-FFF2-40B4-BE49-F238E27FC236}">
                  <a16:creationId xmlns:a16="http://schemas.microsoft.com/office/drawing/2014/main" id="{9EBC4B57-7469-3113-C882-278B3C03A0FB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50" name="Text Placeholder 15">
            <a:extLst>
              <a:ext uri="{FF2B5EF4-FFF2-40B4-BE49-F238E27FC236}">
                <a16:creationId xmlns:a16="http://schemas.microsoft.com/office/drawing/2014/main" id="{1259037C-70CB-1E1F-6D25-D2B084EA584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sp>
        <p:nvSpPr>
          <p:cNvPr id="146" name="Title 1">
            <a:extLst>
              <a:ext uri="{FF2B5EF4-FFF2-40B4-BE49-F238E27FC236}">
                <a16:creationId xmlns:a16="http://schemas.microsoft.com/office/drawing/2014/main" id="{BE0E5E1D-CED1-439A-8322-B3037ABBB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147" name="Inhaltsplatzhalter 2">
            <a:extLst>
              <a:ext uri="{FF2B5EF4-FFF2-40B4-BE49-F238E27FC236}">
                <a16:creationId xmlns:a16="http://schemas.microsoft.com/office/drawing/2014/main" id="{04CA2308-3356-4770-9C45-D34CD2B5FF31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030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6:00:15Z</dcterms:created>
  <dcterms:modified xsi:type="dcterms:W3CDTF">2025-09-04T06:00:34Z</dcterms:modified>
</cp:coreProperties>
</file>